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037" r:id="rId4"/>
  </p:sldMasterIdLst>
  <p:notesMasterIdLst>
    <p:notesMasterId r:id="rId15"/>
  </p:notesMasterIdLst>
  <p:sldIdLst>
    <p:sldId id="2147483469" r:id="rId5"/>
    <p:sldId id="2147483453" r:id="rId6"/>
    <p:sldId id="294" r:id="rId7"/>
    <p:sldId id="2147483467" r:id="rId8"/>
    <p:sldId id="2147483465" r:id="rId9"/>
    <p:sldId id="2147483468" r:id="rId10"/>
    <p:sldId id="2147483471" r:id="rId11"/>
    <p:sldId id="2147483456" r:id="rId12"/>
    <p:sldId id="2147483472" r:id="rId13"/>
    <p:sldId id="2147483462" r:id="rId14"/>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71E26B8-7904-4B5A-9933-2D62E27F9DB3}">
          <p14:sldIdLst>
            <p14:sldId id="2147483469"/>
            <p14:sldId id="2147483453"/>
            <p14:sldId id="294"/>
            <p14:sldId id="2147483467"/>
            <p14:sldId id="2147483465"/>
            <p14:sldId id="2147483468"/>
            <p14:sldId id="2147483471"/>
            <p14:sldId id="2147483456"/>
            <p14:sldId id="2147483472"/>
            <p14:sldId id="214748346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9928C07-7903-411D-ADB8-611AAC361FB3}" name="Mukherjee, Soumya" initials="MS" userId="S::soumya.mukherjee@ab-inbev.com::b2a21a93-61f0-4745-9c27-fcc36de0f6ff" providerId="AD"/>
  <p188:author id="{5096310A-3E16-1E6F-E9EC-61FAC8A6CA9F}" name="Kamal, Neel" initials="KN" userId="S::Neel.Kamal@AB-inbev.com::4b6e2f90-81bd-4776-b607-e32e613c0b54" providerId="AD"/>
  <p188:author id="{03820411-1492-78F0-FA65-B09624F80D2A}" name="Gowda Kranthi" initials="GK" userId="S::Kranthi.Gowda@ab-inbev.com::7a454444-60ef-4b75-bdc3-aed881c837f3" providerId="AD"/>
  <p188:author id="{0CAD8014-63FD-BC49-5F59-7E8D0161757E}" name="Dublish Priyanka" initials="DP" userId="S::Priyanka.Dublish@AB-inbev.com::151a3cdb-1554-476f-b9fc-8fe08ec60cd7" providerId="AD"/>
  <p188:author id="{ED7F0B43-6796-3470-0061-836766DFF1ED}" name="Krishnan, Rahul" initials="KR" userId="S::Rahul.Krishnan@ab-inbev.com::cff89c0e-b424-4af6-9ffb-5c151d0fc929" providerId="AD"/>
  <p188:author id="{427A6C43-07D8-5D1D-DAA4-F8A8C25C2B4B}" name="Rajapandian, Selvakumar" initials="RS" userId="S::Selvakumar.Rajapandian@ab-inbev.com::23398e2e-c610-49aa-a95e-e9f11161f6aa" providerId="AD"/>
  <p188:author id="{B89B8744-9ECF-E248-AC11-4CB00078204D}" name="Panda, Arnab" initials="PA" userId="S::40107886@ab-inbev.com::976ad045-ea79-492f-a49e-9f099c9f3779" providerId="AD"/>
  <p188:author id="{CB8F175D-32E8-14BF-B5F6-E0376B52B656}" name="Srinivas, Dhiraj" initials="SD" userId="S::Dhiraj.Srinivas@ab-inbev.com::afa656ce-9f8f-4709-9c8d-3240873b624e" providerId="AD"/>
  <p188:author id="{9225CC62-6267-F53E-9F08-58BE03D4DFBE}" name="Mathews, Arun" initials="MA" userId="S::Arun.Mathews@AB-inbev.com::2caeee3e-f8de-4e62-a491-abf822f6f1d7" providerId="AD"/>
  <p188:author id="{A4AF1E65-8CD2-8558-7AA1-3821329ED7F8}" name="Tanuj Nigam" initials="TN" userId="S::Tanuj.Nigam@ab-inbev.com::f2112780-2fc6-4d35-83f4-33182dd5b08d" providerId="AD"/>
  <p188:author id="{4EDCDA6A-30F2-4DE7-2BBA-2DFC82442AEA}" name="Prathiksh, Prajwal" initials="PP" userId="S::Prajwal.Prathiksh@AB-inbev.com::593f414f-1311-4849-b482-a23b02f2aa14" providerId="AD"/>
  <p188:author id="{23E0F0A9-E485-689A-65B5-0B4BC7AADC58}" name="Sindhuja AP" initials="SA" userId="S::sindhuja.ap@ab-inbev.com::246590ca-56d4-4b08-a60f-a955447c6f73" providerId="AD"/>
  <p188:author id="{D2461FB6-A0BD-5B57-97B8-EADEEB6FD85F}" name="Yadav, Pankaj" initials="YP" userId="S::Pankaj.Yadav@AB-inbev.com::f2addf58-a2c0-43c4-b6f8-bfaa5a3b84a8" providerId="AD"/>
  <p188:author id="{366510DB-22E8-E766-4EC0-FA364B3AD54D}" name="Garg, Kavya" initials="GK" userId="S::kavya.garg@anheuser-busch.com::582e7216-1512-432a-9a17-887092fdf455" providerId="AD"/>
  <p188:author id="{F335ADDB-C43A-59F3-C939-6D85A44FEC26}" name="Augustine, Jesse" initials="AJ" userId="S::jesse.augustine@ab-inbev.com::40a6ef19-6a19-47cc-995a-148bfdfd672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anuj Nigam" initials="TN" lastIdx="1" clrIdx="0">
    <p:extLst>
      <p:ext uri="{19B8F6BF-5375-455C-9EA6-DF929625EA0E}">
        <p15:presenceInfo xmlns:p15="http://schemas.microsoft.com/office/powerpoint/2012/main" userId="S::Tanuj.Nigam@ab-inbev.com::f2112780-2fc6-4d35-83f4-33182dd5b08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E39"/>
    <a:srgbClr val="F1D809"/>
    <a:srgbClr val="E5C788"/>
    <a:srgbClr val="F5DF02"/>
    <a:srgbClr val="F7C400"/>
    <a:srgbClr val="27BD66"/>
    <a:srgbClr val="010101"/>
    <a:srgbClr val="F4DE05"/>
    <a:srgbClr val="D1A33C"/>
    <a:srgbClr val="E2BC2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82B42E-B309-499E-80A2-C39A7801B055}" v="2697" dt="2024-12-06T11:50:48.010"/>
  </p1510:revLst>
</p1510:revInfo>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2" d="100"/>
          <a:sy n="72" d="100"/>
        </p:scale>
        <p:origin x="43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Book10" TargetMode="External"/></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2523</cx:f>
        <cx:lvl ptCount="2522">
          <cx:pt idx="0">DOc1</cx:pt>
          <cx:pt idx="1">DOc10</cx:pt>
          <cx:pt idx="2">DOc100</cx:pt>
          <cx:pt idx="3">DOc1000</cx:pt>
          <cx:pt idx="4">DOc1001</cx:pt>
          <cx:pt idx="5">DOc1002</cx:pt>
          <cx:pt idx="6">DOc1003</cx:pt>
          <cx:pt idx="7">DOc1004</cx:pt>
          <cx:pt idx="8">DOc1005</cx:pt>
          <cx:pt idx="9">DOc1006</cx:pt>
          <cx:pt idx="10">DOc1007</cx:pt>
          <cx:pt idx="11">DOc1008</cx:pt>
          <cx:pt idx="12">DOc1009</cx:pt>
          <cx:pt idx="13">DOc101</cx:pt>
          <cx:pt idx="14">DOc1010</cx:pt>
          <cx:pt idx="15">DOc1011</cx:pt>
          <cx:pt idx="16">DOc1012</cx:pt>
          <cx:pt idx="17">DOc1013</cx:pt>
          <cx:pt idx="18">DOc1014</cx:pt>
          <cx:pt idx="19">DOc1015</cx:pt>
          <cx:pt idx="20">DOc1016</cx:pt>
          <cx:pt idx="21">DOc1017</cx:pt>
          <cx:pt idx="22">DOc1018</cx:pt>
          <cx:pt idx="23">DOc1019</cx:pt>
          <cx:pt idx="24">DOc102</cx:pt>
          <cx:pt idx="25">DOc1020</cx:pt>
          <cx:pt idx="26">DOc1021</cx:pt>
          <cx:pt idx="27">DOc1022</cx:pt>
          <cx:pt idx="28">DOc1023</cx:pt>
          <cx:pt idx="29">DOc1024</cx:pt>
          <cx:pt idx="30">DOc1025</cx:pt>
          <cx:pt idx="31">DOc1026</cx:pt>
          <cx:pt idx="32">DOc1027</cx:pt>
          <cx:pt idx="33">DOc1028</cx:pt>
          <cx:pt idx="34">DOc1029</cx:pt>
          <cx:pt idx="35">DOc103</cx:pt>
          <cx:pt idx="36">DOc1030</cx:pt>
          <cx:pt idx="37">DOc1031</cx:pt>
          <cx:pt idx="38">DOc1032</cx:pt>
          <cx:pt idx="39">DOc1033</cx:pt>
          <cx:pt idx="40">DOc1034</cx:pt>
          <cx:pt idx="41">DOc1035</cx:pt>
          <cx:pt idx="42">DOc1036</cx:pt>
          <cx:pt idx="43">DOc1037</cx:pt>
          <cx:pt idx="44">DOc1038</cx:pt>
          <cx:pt idx="45">DOc1039</cx:pt>
          <cx:pt idx="46">DOc104</cx:pt>
          <cx:pt idx="47">DOc1040</cx:pt>
          <cx:pt idx="48">DOc1041</cx:pt>
          <cx:pt idx="49">DOc1042</cx:pt>
          <cx:pt idx="50">DOc1043</cx:pt>
          <cx:pt idx="51">DOc1044</cx:pt>
          <cx:pt idx="52">DOc1045</cx:pt>
          <cx:pt idx="53">DOc1046</cx:pt>
          <cx:pt idx="54">DOc1047</cx:pt>
          <cx:pt idx="55">DOc1048</cx:pt>
          <cx:pt idx="56">DOc1049</cx:pt>
          <cx:pt idx="57">DOc105</cx:pt>
          <cx:pt idx="58">DOc1050</cx:pt>
          <cx:pt idx="59">DOc1051</cx:pt>
          <cx:pt idx="60">DOc1052</cx:pt>
          <cx:pt idx="61">DOc1053</cx:pt>
          <cx:pt idx="62">DOc1054</cx:pt>
          <cx:pt idx="63">DOc1055</cx:pt>
          <cx:pt idx="64">DOc1056</cx:pt>
          <cx:pt idx="65">DOc1057</cx:pt>
          <cx:pt idx="66">DOc1058</cx:pt>
          <cx:pt idx="67">DOc1059</cx:pt>
          <cx:pt idx="68">DOc106</cx:pt>
          <cx:pt idx="69">DOc1060</cx:pt>
          <cx:pt idx="70">DOc1061</cx:pt>
          <cx:pt idx="71">DOc1062</cx:pt>
          <cx:pt idx="72">DOc1063</cx:pt>
          <cx:pt idx="73">DOc1064</cx:pt>
          <cx:pt idx="74">DOc1065</cx:pt>
          <cx:pt idx="75">DOc1066</cx:pt>
          <cx:pt idx="76">DOc1067</cx:pt>
          <cx:pt idx="77">DOc1068</cx:pt>
          <cx:pt idx="78">DOc1069</cx:pt>
          <cx:pt idx="79">DOc107</cx:pt>
          <cx:pt idx="80">DOc1070</cx:pt>
          <cx:pt idx="81">DOc1071</cx:pt>
          <cx:pt idx="82">DOc1072</cx:pt>
          <cx:pt idx="83">DOc1073</cx:pt>
          <cx:pt idx="84">DOc1074</cx:pt>
          <cx:pt idx="85">DOc1075</cx:pt>
          <cx:pt idx="86">DOc1076</cx:pt>
          <cx:pt idx="87">DOc1077</cx:pt>
          <cx:pt idx="88">DOc1078</cx:pt>
          <cx:pt idx="89">DOc1079</cx:pt>
          <cx:pt idx="90">DOc108</cx:pt>
          <cx:pt idx="91">DOc1080</cx:pt>
          <cx:pt idx="92">DOc1081</cx:pt>
          <cx:pt idx="93">DOc1082</cx:pt>
          <cx:pt idx="94">DOc1083</cx:pt>
          <cx:pt idx="95">DOc1084</cx:pt>
          <cx:pt idx="96">DOc1085</cx:pt>
          <cx:pt idx="97">DOc1086</cx:pt>
          <cx:pt idx="98">DOc1087</cx:pt>
          <cx:pt idx="99">DOc1088</cx:pt>
          <cx:pt idx="100">DOc1089</cx:pt>
          <cx:pt idx="101">DOc109</cx:pt>
          <cx:pt idx="102">DOc1090</cx:pt>
          <cx:pt idx="103">DOc1091</cx:pt>
          <cx:pt idx="104">DOc1092</cx:pt>
          <cx:pt idx="105">DOc1093</cx:pt>
          <cx:pt idx="106">DOc1094</cx:pt>
          <cx:pt idx="107">DOc1095</cx:pt>
          <cx:pt idx="108">DOc1096</cx:pt>
          <cx:pt idx="109">DOc1097</cx:pt>
          <cx:pt idx="110">DOc1098</cx:pt>
          <cx:pt idx="111">DOc1099</cx:pt>
          <cx:pt idx="112">DOc11</cx:pt>
          <cx:pt idx="113">DOc110</cx:pt>
          <cx:pt idx="114">DOc1100</cx:pt>
          <cx:pt idx="115">DOc1101</cx:pt>
          <cx:pt idx="116">DOc1102</cx:pt>
          <cx:pt idx="117">DOc1103</cx:pt>
          <cx:pt idx="118">DOc1104</cx:pt>
          <cx:pt idx="119">DOc1105</cx:pt>
          <cx:pt idx="120">DOc1106</cx:pt>
          <cx:pt idx="121">DOc1107</cx:pt>
          <cx:pt idx="122">DOc1108</cx:pt>
          <cx:pt idx="123">DOc1109</cx:pt>
          <cx:pt idx="124">DOc111</cx:pt>
          <cx:pt idx="125">DOc1110</cx:pt>
          <cx:pt idx="126">DOc1111</cx:pt>
          <cx:pt idx="127">DOc1112</cx:pt>
          <cx:pt idx="128">DOc1113</cx:pt>
          <cx:pt idx="129">DOc1114</cx:pt>
          <cx:pt idx="130">DOc1115</cx:pt>
          <cx:pt idx="131">DOc1116</cx:pt>
          <cx:pt idx="132">DOc1117</cx:pt>
          <cx:pt idx="133">DOc1118</cx:pt>
          <cx:pt idx="134">DOc1119</cx:pt>
          <cx:pt idx="135">DOc112</cx:pt>
          <cx:pt idx="136">DOc1120</cx:pt>
          <cx:pt idx="137">DOc1121</cx:pt>
          <cx:pt idx="138">DOc1122</cx:pt>
          <cx:pt idx="139">DOc1123</cx:pt>
          <cx:pt idx="140">DOc1124</cx:pt>
          <cx:pt idx="141">DOc1125</cx:pt>
          <cx:pt idx="142">DOc1126</cx:pt>
          <cx:pt idx="143">DOc1127</cx:pt>
          <cx:pt idx="144">DOc1128</cx:pt>
          <cx:pt idx="145">DOc1129</cx:pt>
          <cx:pt idx="146">DOc113</cx:pt>
          <cx:pt idx="147">DOc1130</cx:pt>
          <cx:pt idx="148">DOc1131</cx:pt>
          <cx:pt idx="149">DOc1132</cx:pt>
          <cx:pt idx="150">DOc1133</cx:pt>
          <cx:pt idx="151">DOc1134</cx:pt>
          <cx:pt idx="152">DOc1135</cx:pt>
          <cx:pt idx="153">DOc1136</cx:pt>
          <cx:pt idx="154">DOc1137</cx:pt>
          <cx:pt idx="155">DOc1138</cx:pt>
          <cx:pt idx="156">DOc1139</cx:pt>
          <cx:pt idx="157">DOc114</cx:pt>
          <cx:pt idx="158">DOc1140</cx:pt>
          <cx:pt idx="159">DOc1141</cx:pt>
          <cx:pt idx="160">DOc1142</cx:pt>
          <cx:pt idx="161">DOc1143</cx:pt>
          <cx:pt idx="162">DOc1144</cx:pt>
          <cx:pt idx="163">DOc1145</cx:pt>
          <cx:pt idx="164">DOc1146</cx:pt>
          <cx:pt idx="165">DOc1147</cx:pt>
          <cx:pt idx="166">DOc1148</cx:pt>
          <cx:pt idx="167">DOc1149</cx:pt>
          <cx:pt idx="168">DOc115</cx:pt>
          <cx:pt idx="169">DOc1150</cx:pt>
          <cx:pt idx="170">DOc1151</cx:pt>
          <cx:pt idx="171">DOc1152</cx:pt>
          <cx:pt idx="172">DOc1153</cx:pt>
          <cx:pt idx="173">DOc1154</cx:pt>
          <cx:pt idx="174">DOc1155</cx:pt>
          <cx:pt idx="175">DOc1156</cx:pt>
          <cx:pt idx="176">DOc1157</cx:pt>
          <cx:pt idx="177">DOc1158</cx:pt>
          <cx:pt idx="178">DOc1159</cx:pt>
          <cx:pt idx="179">DOc116</cx:pt>
          <cx:pt idx="180">DOc1160</cx:pt>
          <cx:pt idx="181">DOc1161</cx:pt>
          <cx:pt idx="182">DOc1162</cx:pt>
          <cx:pt idx="183">DOc1163</cx:pt>
          <cx:pt idx="184">DOc1164</cx:pt>
          <cx:pt idx="185">DOc1165</cx:pt>
          <cx:pt idx="186">DOc1166</cx:pt>
          <cx:pt idx="187">DOc1167</cx:pt>
          <cx:pt idx="188">DOc1168</cx:pt>
          <cx:pt idx="189">DOc1169</cx:pt>
          <cx:pt idx="190">DOc117</cx:pt>
          <cx:pt idx="191">DOc1170</cx:pt>
          <cx:pt idx="192">DOc1171</cx:pt>
          <cx:pt idx="193">DOc1172</cx:pt>
          <cx:pt idx="194">DOc1173</cx:pt>
          <cx:pt idx="195">DOc1174</cx:pt>
          <cx:pt idx="196">DOc1175</cx:pt>
          <cx:pt idx="197">DOc1176</cx:pt>
          <cx:pt idx="198">DOc1177</cx:pt>
          <cx:pt idx="199">DOc1178</cx:pt>
          <cx:pt idx="200">DOc1179</cx:pt>
          <cx:pt idx="201">DOc118</cx:pt>
          <cx:pt idx="202">DOc1180</cx:pt>
          <cx:pt idx="203">DOc1181</cx:pt>
          <cx:pt idx="204">DOc1182</cx:pt>
          <cx:pt idx="205">DOc1183</cx:pt>
          <cx:pt idx="206">DOc1184</cx:pt>
          <cx:pt idx="207">DOc1185</cx:pt>
          <cx:pt idx="208">DOc1186</cx:pt>
          <cx:pt idx="209">DOc1187</cx:pt>
          <cx:pt idx="210">DOc1188</cx:pt>
          <cx:pt idx="211">DOc1189</cx:pt>
          <cx:pt idx="212">DOc119</cx:pt>
          <cx:pt idx="213">DOc1190</cx:pt>
          <cx:pt idx="214">DOc1191</cx:pt>
          <cx:pt idx="215">DOc1192</cx:pt>
          <cx:pt idx="216">DOc1193</cx:pt>
          <cx:pt idx="217">DOc1194</cx:pt>
          <cx:pt idx="218">DOc1195</cx:pt>
          <cx:pt idx="219">DOc1196</cx:pt>
          <cx:pt idx="220">DOc1197</cx:pt>
          <cx:pt idx="221">DOc1198</cx:pt>
          <cx:pt idx="222">DOc1199</cx:pt>
          <cx:pt idx="223">DOc12</cx:pt>
          <cx:pt idx="224">DOc120</cx:pt>
          <cx:pt idx="225">DOc1200</cx:pt>
          <cx:pt idx="226">DOc1201</cx:pt>
          <cx:pt idx="227">DOc1202</cx:pt>
          <cx:pt idx="228">DOc1203</cx:pt>
          <cx:pt idx="229">DOc1204</cx:pt>
          <cx:pt idx="230">DOc1205</cx:pt>
          <cx:pt idx="231">DOc1206</cx:pt>
          <cx:pt idx="232">DOc1207</cx:pt>
          <cx:pt idx="233">DOc1208</cx:pt>
          <cx:pt idx="234">DOc1209</cx:pt>
          <cx:pt idx="235">DOc121</cx:pt>
          <cx:pt idx="236">DOc1210</cx:pt>
          <cx:pt idx="237">DOc1211</cx:pt>
          <cx:pt idx="238">DOc1212</cx:pt>
          <cx:pt idx="239">DOc1213</cx:pt>
          <cx:pt idx="240">DOc1214</cx:pt>
          <cx:pt idx="241">DOc1215</cx:pt>
          <cx:pt idx="242">DOc1216</cx:pt>
          <cx:pt idx="243">DOc1217</cx:pt>
          <cx:pt idx="244">DOc1218</cx:pt>
          <cx:pt idx="245">DOc1219</cx:pt>
          <cx:pt idx="246">DOc122</cx:pt>
          <cx:pt idx="247">DOc1220</cx:pt>
          <cx:pt idx="248">DOc1221</cx:pt>
          <cx:pt idx="249">DOc1222</cx:pt>
          <cx:pt idx="250">DOc1223</cx:pt>
          <cx:pt idx="251">DOc1224</cx:pt>
          <cx:pt idx="252">DOc1225</cx:pt>
          <cx:pt idx="253">DOc1226</cx:pt>
          <cx:pt idx="254">DOc1227</cx:pt>
          <cx:pt idx="255">DOc1228</cx:pt>
          <cx:pt idx="256">DOc1229</cx:pt>
          <cx:pt idx="257">DOc123</cx:pt>
          <cx:pt idx="258">DOc1230</cx:pt>
          <cx:pt idx="259">DOc1231</cx:pt>
          <cx:pt idx="260">DOc1232</cx:pt>
          <cx:pt idx="261">DOc1233</cx:pt>
          <cx:pt idx="262">DOc1234</cx:pt>
          <cx:pt idx="263">DOc1235</cx:pt>
          <cx:pt idx="264">DOc1236</cx:pt>
          <cx:pt idx="265">DOc1237</cx:pt>
          <cx:pt idx="266">DOc1238</cx:pt>
          <cx:pt idx="267">DOc1239</cx:pt>
          <cx:pt idx="268">DOc124</cx:pt>
          <cx:pt idx="269">DOc1240</cx:pt>
          <cx:pt idx="270">DOc1241</cx:pt>
          <cx:pt idx="271">DOc1242</cx:pt>
          <cx:pt idx="272">DOc1243</cx:pt>
          <cx:pt idx="273">DOc1244</cx:pt>
          <cx:pt idx="274">DOc1245</cx:pt>
          <cx:pt idx="275">DOc1246</cx:pt>
          <cx:pt idx="276">DOc1247</cx:pt>
          <cx:pt idx="277">DOc1248</cx:pt>
          <cx:pt idx="278">DOc1249</cx:pt>
          <cx:pt idx="279">DOc125</cx:pt>
          <cx:pt idx="280">DOc1250</cx:pt>
          <cx:pt idx="281">DOc1251</cx:pt>
          <cx:pt idx="282">DOc1252</cx:pt>
          <cx:pt idx="283">DOc1253</cx:pt>
          <cx:pt idx="284">DOc1254</cx:pt>
          <cx:pt idx="285">DOc1255</cx:pt>
          <cx:pt idx="286">DOc1256</cx:pt>
          <cx:pt idx="287">DOc1257</cx:pt>
          <cx:pt idx="288">DOc1258</cx:pt>
          <cx:pt idx="289">DOc1259</cx:pt>
          <cx:pt idx="290">DOc126</cx:pt>
          <cx:pt idx="291">DOc1260</cx:pt>
          <cx:pt idx="292">DOc1261</cx:pt>
          <cx:pt idx="293">DOc1262</cx:pt>
          <cx:pt idx="294">DOc1263</cx:pt>
          <cx:pt idx="295">DOc1264</cx:pt>
          <cx:pt idx="296">DOc1265</cx:pt>
          <cx:pt idx="297">DOc1266</cx:pt>
          <cx:pt idx="298">DOc1267</cx:pt>
          <cx:pt idx="299">DOc1268</cx:pt>
          <cx:pt idx="300">DOc1269</cx:pt>
          <cx:pt idx="301">DOc127</cx:pt>
          <cx:pt idx="302">DOc1270</cx:pt>
          <cx:pt idx="303">DOc1271</cx:pt>
          <cx:pt idx="304">DOc1272</cx:pt>
          <cx:pt idx="305">DOc1273</cx:pt>
          <cx:pt idx="306">DOc1274</cx:pt>
          <cx:pt idx="307">DOc1275</cx:pt>
          <cx:pt idx="308">DOc1276</cx:pt>
          <cx:pt idx="309">DOc1277</cx:pt>
          <cx:pt idx="310">DOc1278</cx:pt>
          <cx:pt idx="311">DOc1279</cx:pt>
          <cx:pt idx="312">DOc128</cx:pt>
          <cx:pt idx="313">DOc1280</cx:pt>
          <cx:pt idx="314">DOc1281</cx:pt>
          <cx:pt idx="315">DOc1282</cx:pt>
          <cx:pt idx="316">DOc1283</cx:pt>
          <cx:pt idx="317">DOc1284</cx:pt>
          <cx:pt idx="318">DOc1285</cx:pt>
          <cx:pt idx="319">DOc1286</cx:pt>
          <cx:pt idx="320">DOc1287</cx:pt>
          <cx:pt idx="321">DOc1288</cx:pt>
          <cx:pt idx="322">DOc1289</cx:pt>
          <cx:pt idx="323">DOc129</cx:pt>
          <cx:pt idx="324">DOc1290</cx:pt>
          <cx:pt idx="325">DOc1291</cx:pt>
          <cx:pt idx="326">DOc1292</cx:pt>
          <cx:pt idx="327">DOc1293</cx:pt>
          <cx:pt idx="328">DOc1294</cx:pt>
          <cx:pt idx="329">DOc1295</cx:pt>
          <cx:pt idx="330">DOc1296</cx:pt>
          <cx:pt idx="331">DOc1297</cx:pt>
          <cx:pt idx="332">DOc1298</cx:pt>
          <cx:pt idx="333">DOc1299</cx:pt>
          <cx:pt idx="334">DOc13</cx:pt>
          <cx:pt idx="335">DOc130</cx:pt>
          <cx:pt idx="336">DOc1300</cx:pt>
          <cx:pt idx="337">DOc1301</cx:pt>
          <cx:pt idx="338">DOc1302</cx:pt>
          <cx:pt idx="339">DOc1303</cx:pt>
          <cx:pt idx="340">DOc1304</cx:pt>
          <cx:pt idx="341">DOc1305</cx:pt>
          <cx:pt idx="342">DOc1306</cx:pt>
          <cx:pt idx="343">DOc1307</cx:pt>
          <cx:pt idx="344">DOc1308</cx:pt>
          <cx:pt idx="345">DOc1309</cx:pt>
          <cx:pt idx="346">DOc131</cx:pt>
          <cx:pt idx="347">DOc1310</cx:pt>
          <cx:pt idx="348">DOc1311</cx:pt>
          <cx:pt idx="349">DOc1312</cx:pt>
          <cx:pt idx="350">DOc1313</cx:pt>
          <cx:pt idx="351">DOc1314</cx:pt>
          <cx:pt idx="352">DOc1315</cx:pt>
          <cx:pt idx="353">DOc1316</cx:pt>
          <cx:pt idx="354">DOc1317</cx:pt>
          <cx:pt idx="355">DOc1318</cx:pt>
          <cx:pt idx="356">DOc1319</cx:pt>
          <cx:pt idx="357">DOc132</cx:pt>
          <cx:pt idx="358">DOc1320</cx:pt>
          <cx:pt idx="359">DOc1321</cx:pt>
          <cx:pt idx="360">DOc1322</cx:pt>
          <cx:pt idx="361">DOc1323</cx:pt>
          <cx:pt idx="362">DOc1324</cx:pt>
          <cx:pt idx="363">DOc1325</cx:pt>
          <cx:pt idx="364">DOc1326</cx:pt>
          <cx:pt idx="365">DOc1327</cx:pt>
          <cx:pt idx="366">DOc1328</cx:pt>
          <cx:pt idx="367">DOc1329</cx:pt>
          <cx:pt idx="368">DOc133</cx:pt>
          <cx:pt idx="369">DOc1330</cx:pt>
          <cx:pt idx="370">DOc1331</cx:pt>
          <cx:pt idx="371">DOc1332</cx:pt>
          <cx:pt idx="372">DOc1333</cx:pt>
          <cx:pt idx="373">DOc1334</cx:pt>
          <cx:pt idx="374">DOc1335</cx:pt>
          <cx:pt idx="375">DOc1336</cx:pt>
          <cx:pt idx="376">DOc1337</cx:pt>
          <cx:pt idx="377">DOc1338</cx:pt>
          <cx:pt idx="378">DOc1339</cx:pt>
          <cx:pt idx="379">DOc134</cx:pt>
          <cx:pt idx="380">DOc1340</cx:pt>
          <cx:pt idx="381">DOc1341</cx:pt>
          <cx:pt idx="382">DOc1342</cx:pt>
          <cx:pt idx="383">DOc1343</cx:pt>
          <cx:pt idx="384">DOc1344</cx:pt>
          <cx:pt idx="385">DOc1345</cx:pt>
          <cx:pt idx="386">DOc1346</cx:pt>
          <cx:pt idx="387">DOc1347</cx:pt>
          <cx:pt idx="388">DOc1348</cx:pt>
          <cx:pt idx="389">DOc1349</cx:pt>
          <cx:pt idx="390">DOc135</cx:pt>
          <cx:pt idx="391">DOc1350</cx:pt>
          <cx:pt idx="392">DOc1351</cx:pt>
          <cx:pt idx="393">DOc1352</cx:pt>
          <cx:pt idx="394">DOc1353</cx:pt>
          <cx:pt idx="395">DOc1354</cx:pt>
          <cx:pt idx="396">DOc1355</cx:pt>
          <cx:pt idx="397">DOc1356</cx:pt>
          <cx:pt idx="398">DOc1357</cx:pt>
          <cx:pt idx="399">DOc1358</cx:pt>
          <cx:pt idx="400">DOc1359</cx:pt>
          <cx:pt idx="401">DOc136</cx:pt>
          <cx:pt idx="402">DOc1360</cx:pt>
          <cx:pt idx="403">DOc1361</cx:pt>
          <cx:pt idx="404">DOc1362</cx:pt>
          <cx:pt idx="405">DOc1363</cx:pt>
          <cx:pt idx="406">DOc1364</cx:pt>
          <cx:pt idx="407">DOc1365</cx:pt>
          <cx:pt idx="408">DOc1366</cx:pt>
          <cx:pt idx="409">DOc1367</cx:pt>
          <cx:pt idx="410">DOc1368</cx:pt>
          <cx:pt idx="411">DOc1369</cx:pt>
          <cx:pt idx="412">DOc137</cx:pt>
          <cx:pt idx="413">DOc1370</cx:pt>
          <cx:pt idx="414">DOc1371</cx:pt>
          <cx:pt idx="415">DOc1372</cx:pt>
          <cx:pt idx="416">DOc1373</cx:pt>
          <cx:pt idx="417">DOc1374</cx:pt>
          <cx:pt idx="418">DOc1375</cx:pt>
          <cx:pt idx="419">DOc1376</cx:pt>
          <cx:pt idx="420">DOc1377</cx:pt>
          <cx:pt idx="421">DOc1378</cx:pt>
          <cx:pt idx="422">DOc1379</cx:pt>
          <cx:pt idx="423">DOc138</cx:pt>
          <cx:pt idx="424">DOc1380</cx:pt>
          <cx:pt idx="425">DOc1381</cx:pt>
          <cx:pt idx="426">DOc1382</cx:pt>
          <cx:pt idx="427">DOc1383</cx:pt>
          <cx:pt idx="428">DOc1384</cx:pt>
          <cx:pt idx="429">DOc1385</cx:pt>
          <cx:pt idx="430">DOc1386</cx:pt>
          <cx:pt idx="431">DOc1387</cx:pt>
          <cx:pt idx="432">DOc1388</cx:pt>
          <cx:pt idx="433">DOc1389</cx:pt>
          <cx:pt idx="434">DOc139</cx:pt>
          <cx:pt idx="435">DOc1390</cx:pt>
          <cx:pt idx="436">DOc1391</cx:pt>
          <cx:pt idx="437">DOc1392</cx:pt>
          <cx:pt idx="438">DOc1393</cx:pt>
          <cx:pt idx="439">DOc1394</cx:pt>
          <cx:pt idx="440">DOc1395</cx:pt>
          <cx:pt idx="441">DOc1396</cx:pt>
          <cx:pt idx="442">DOc1397</cx:pt>
          <cx:pt idx="443">DOc1398</cx:pt>
          <cx:pt idx="444">DOc1399</cx:pt>
          <cx:pt idx="445">DOc14</cx:pt>
          <cx:pt idx="446">DOc140</cx:pt>
          <cx:pt idx="447">DOc1400</cx:pt>
          <cx:pt idx="448">DOc1401</cx:pt>
          <cx:pt idx="449">DOc1402</cx:pt>
          <cx:pt idx="450">DOc1403</cx:pt>
          <cx:pt idx="451">DOc1404</cx:pt>
          <cx:pt idx="452">DOc1405</cx:pt>
          <cx:pt idx="453">DOc1406</cx:pt>
          <cx:pt idx="454">DOc1407</cx:pt>
          <cx:pt idx="455">DOc1408</cx:pt>
          <cx:pt idx="456">DOc1409</cx:pt>
          <cx:pt idx="457">DOc141</cx:pt>
          <cx:pt idx="458">DOc1410</cx:pt>
          <cx:pt idx="459">DOc1411</cx:pt>
          <cx:pt idx="460">DOc1412</cx:pt>
          <cx:pt idx="461">DOc1413</cx:pt>
          <cx:pt idx="462">DOc1414</cx:pt>
          <cx:pt idx="463">DOc1415</cx:pt>
          <cx:pt idx="464">DOc1416</cx:pt>
          <cx:pt idx="465">DOc1417</cx:pt>
          <cx:pt idx="466">DOc1418</cx:pt>
          <cx:pt idx="467">DOc1419</cx:pt>
          <cx:pt idx="468">DOc142</cx:pt>
          <cx:pt idx="469">DOc1420</cx:pt>
          <cx:pt idx="470">DOc1421</cx:pt>
          <cx:pt idx="471">DOc1422</cx:pt>
          <cx:pt idx="472">DOc1423</cx:pt>
          <cx:pt idx="473">DOc1424</cx:pt>
          <cx:pt idx="474">DOc1425</cx:pt>
          <cx:pt idx="475">DOc1426</cx:pt>
          <cx:pt idx="476">DOc1427</cx:pt>
          <cx:pt idx="477">DOc1428</cx:pt>
          <cx:pt idx="478">DOc1429</cx:pt>
          <cx:pt idx="479">DOc143</cx:pt>
          <cx:pt idx="480">DOc1430</cx:pt>
          <cx:pt idx="481">DOc1431</cx:pt>
          <cx:pt idx="482">DOc1432</cx:pt>
          <cx:pt idx="483">DOc1433</cx:pt>
          <cx:pt idx="484">DOc1434</cx:pt>
          <cx:pt idx="485">DOc1435</cx:pt>
          <cx:pt idx="486">DOc1436</cx:pt>
          <cx:pt idx="487">DOc1437</cx:pt>
          <cx:pt idx="488">DOc1438</cx:pt>
          <cx:pt idx="489">DOc1439</cx:pt>
          <cx:pt idx="490">DOc144</cx:pt>
          <cx:pt idx="491">DOc1440</cx:pt>
          <cx:pt idx="492">DOc1441</cx:pt>
          <cx:pt idx="493">DOc1442</cx:pt>
          <cx:pt idx="494">DOc1443</cx:pt>
          <cx:pt idx="495">DOc1444</cx:pt>
          <cx:pt idx="496">DOc1445</cx:pt>
          <cx:pt idx="497">DOc1446</cx:pt>
          <cx:pt idx="498">DOc1447</cx:pt>
          <cx:pt idx="499">DOc1448</cx:pt>
          <cx:pt idx="500">DOc1449</cx:pt>
          <cx:pt idx="501">DOc145</cx:pt>
          <cx:pt idx="502">DOc1450</cx:pt>
          <cx:pt idx="503">DOc1451</cx:pt>
          <cx:pt idx="504">DOc1452</cx:pt>
          <cx:pt idx="505">DOc1453</cx:pt>
          <cx:pt idx="506">DOc1454</cx:pt>
          <cx:pt idx="507">DOc1455</cx:pt>
          <cx:pt idx="508">DOc1456</cx:pt>
          <cx:pt idx="509">DOc1457</cx:pt>
          <cx:pt idx="510">DOc1458</cx:pt>
          <cx:pt idx="511">DOc1459</cx:pt>
          <cx:pt idx="512">DOc146</cx:pt>
          <cx:pt idx="513">DOc1460</cx:pt>
          <cx:pt idx="514">DOc1461</cx:pt>
          <cx:pt idx="515">DOc1462</cx:pt>
          <cx:pt idx="516">DOc1463</cx:pt>
          <cx:pt idx="517">DOc1464</cx:pt>
          <cx:pt idx="518">DOc1465</cx:pt>
          <cx:pt idx="519">DOc1466</cx:pt>
          <cx:pt idx="520">DOc1467</cx:pt>
          <cx:pt idx="521">DOc1468</cx:pt>
          <cx:pt idx="522">DOc1469</cx:pt>
          <cx:pt idx="523">DOc147</cx:pt>
          <cx:pt idx="524">DOc1470</cx:pt>
          <cx:pt idx="525">DOc1471</cx:pt>
          <cx:pt idx="526">DOc1472</cx:pt>
          <cx:pt idx="527">DOc1473</cx:pt>
          <cx:pt idx="528">DOc1474</cx:pt>
          <cx:pt idx="529">DOc1475</cx:pt>
          <cx:pt idx="530">DOc1476</cx:pt>
          <cx:pt idx="531">DOc1477</cx:pt>
          <cx:pt idx="532">DOc1478</cx:pt>
          <cx:pt idx="533">DOc1479</cx:pt>
          <cx:pt idx="534">DOc148</cx:pt>
          <cx:pt idx="535">DOc1480</cx:pt>
          <cx:pt idx="536">DOc1481</cx:pt>
          <cx:pt idx="537">DOc1482</cx:pt>
          <cx:pt idx="538">DOc1483</cx:pt>
          <cx:pt idx="539">DOc1484</cx:pt>
          <cx:pt idx="540">DOc1485</cx:pt>
          <cx:pt idx="541">DOc1486</cx:pt>
          <cx:pt idx="542">DOc1487</cx:pt>
          <cx:pt idx="543">DOc1488</cx:pt>
          <cx:pt idx="544">DOc1489</cx:pt>
          <cx:pt idx="545">DOc149</cx:pt>
          <cx:pt idx="546">DOc1490</cx:pt>
          <cx:pt idx="547">DOc1491</cx:pt>
          <cx:pt idx="548">DOc1492</cx:pt>
          <cx:pt idx="549">DOc1493</cx:pt>
          <cx:pt idx="550">DOc1494</cx:pt>
          <cx:pt idx="551">DOc1495</cx:pt>
          <cx:pt idx="552">DOc1496</cx:pt>
          <cx:pt idx="553">DOc1497</cx:pt>
          <cx:pt idx="554">DOc1498</cx:pt>
          <cx:pt idx="555">DOc1499</cx:pt>
          <cx:pt idx="556">DOc15</cx:pt>
          <cx:pt idx="557">DOc150</cx:pt>
          <cx:pt idx="558">DOc1500</cx:pt>
          <cx:pt idx="559">DOc1501</cx:pt>
          <cx:pt idx="560">DOc1502</cx:pt>
          <cx:pt idx="561">DOc1503</cx:pt>
          <cx:pt idx="562">DOc1504</cx:pt>
          <cx:pt idx="563">DOc1505</cx:pt>
          <cx:pt idx="564">DOc1506</cx:pt>
          <cx:pt idx="565">DOc1507</cx:pt>
          <cx:pt idx="566">DOc1508</cx:pt>
          <cx:pt idx="567">DOc1509</cx:pt>
          <cx:pt idx="568">DOc151</cx:pt>
          <cx:pt idx="569">DOc1510</cx:pt>
          <cx:pt idx="570">DOc1511</cx:pt>
          <cx:pt idx="571">DOc1512</cx:pt>
          <cx:pt idx="572">DOc1513</cx:pt>
          <cx:pt idx="573">DOc1514</cx:pt>
          <cx:pt idx="574">DOc1515</cx:pt>
          <cx:pt idx="575">DOc1516</cx:pt>
          <cx:pt idx="576">DOc1517</cx:pt>
          <cx:pt idx="577">DOc1518</cx:pt>
          <cx:pt idx="578">DOc1519</cx:pt>
          <cx:pt idx="579">DOc152</cx:pt>
          <cx:pt idx="580">DOc1520</cx:pt>
          <cx:pt idx="581">DOc1521</cx:pt>
          <cx:pt idx="582">DOc1522</cx:pt>
          <cx:pt idx="583">DOc1523</cx:pt>
          <cx:pt idx="584">DOc1524</cx:pt>
          <cx:pt idx="585">DOc1525</cx:pt>
          <cx:pt idx="586">DOc1526</cx:pt>
          <cx:pt idx="587">DOc1527</cx:pt>
          <cx:pt idx="588">DOc1528</cx:pt>
          <cx:pt idx="589">DOc1529</cx:pt>
          <cx:pt idx="590">DOc153</cx:pt>
          <cx:pt idx="591">DOc1530</cx:pt>
          <cx:pt idx="592">DOc1531</cx:pt>
          <cx:pt idx="593">DOc1532</cx:pt>
          <cx:pt idx="594">DOc1533</cx:pt>
          <cx:pt idx="595">DOc1534</cx:pt>
          <cx:pt idx="596">DOc1535</cx:pt>
          <cx:pt idx="597">DOc1536</cx:pt>
          <cx:pt idx="598">DOc1537</cx:pt>
          <cx:pt idx="599">DOc1538</cx:pt>
          <cx:pt idx="600">DOc1539</cx:pt>
          <cx:pt idx="601">DOc154</cx:pt>
          <cx:pt idx="602">DOc1540</cx:pt>
          <cx:pt idx="603">DOc1541</cx:pt>
          <cx:pt idx="604">DOc1542</cx:pt>
          <cx:pt idx="605">DOc1543</cx:pt>
          <cx:pt idx="606">DOc1544</cx:pt>
          <cx:pt idx="607">DOc1545</cx:pt>
          <cx:pt idx="608">DOc1546</cx:pt>
          <cx:pt idx="609">DOc1547</cx:pt>
          <cx:pt idx="610">DOc1548</cx:pt>
          <cx:pt idx="611">DOc1549</cx:pt>
          <cx:pt idx="612">DOc155</cx:pt>
          <cx:pt idx="613">DOc1550</cx:pt>
          <cx:pt idx="614">DOc1551</cx:pt>
          <cx:pt idx="615">DOc1552</cx:pt>
          <cx:pt idx="616">DOc1553</cx:pt>
          <cx:pt idx="617">DOc1554</cx:pt>
          <cx:pt idx="618">DOc1555</cx:pt>
          <cx:pt idx="619">DOc1556</cx:pt>
          <cx:pt idx="620">DOc1557</cx:pt>
          <cx:pt idx="621">DOc1558</cx:pt>
          <cx:pt idx="622">DOc1559</cx:pt>
          <cx:pt idx="623">DOc156</cx:pt>
          <cx:pt idx="624">DOc1560</cx:pt>
          <cx:pt idx="625">DOc1561</cx:pt>
          <cx:pt idx="626">DOc1562</cx:pt>
          <cx:pt idx="627">DOc1563</cx:pt>
          <cx:pt idx="628">DOc1564</cx:pt>
          <cx:pt idx="629">DOc1565</cx:pt>
          <cx:pt idx="630">DOc1566</cx:pt>
          <cx:pt idx="631">DOc1567</cx:pt>
          <cx:pt idx="632">DOc1568</cx:pt>
          <cx:pt idx="633">DOc1569</cx:pt>
          <cx:pt idx="634">DOc157</cx:pt>
          <cx:pt idx="635">DOc1570</cx:pt>
          <cx:pt idx="636">DOc1571</cx:pt>
          <cx:pt idx="637">DOc1572</cx:pt>
          <cx:pt idx="638">DOc1573</cx:pt>
          <cx:pt idx="639">DOc1574</cx:pt>
          <cx:pt idx="640">DOc1575</cx:pt>
          <cx:pt idx="641">DOc1576</cx:pt>
          <cx:pt idx="642">DOc1577</cx:pt>
          <cx:pt idx="643">DOc1578</cx:pt>
          <cx:pt idx="644">DOc1579</cx:pt>
          <cx:pt idx="645">DOc158</cx:pt>
          <cx:pt idx="646">DOc1580</cx:pt>
          <cx:pt idx="647">DOc1581</cx:pt>
          <cx:pt idx="648">DOc1582</cx:pt>
          <cx:pt idx="649">DOc1583</cx:pt>
          <cx:pt idx="650">DOc1584</cx:pt>
          <cx:pt idx="651">DOc1585</cx:pt>
          <cx:pt idx="652">DOc1586</cx:pt>
          <cx:pt idx="653">DOc1587</cx:pt>
          <cx:pt idx="654">DOc1588</cx:pt>
          <cx:pt idx="655">DOc1589</cx:pt>
          <cx:pt idx="656">DOc159</cx:pt>
          <cx:pt idx="657">DOc1590</cx:pt>
          <cx:pt idx="658">DOc1591</cx:pt>
          <cx:pt idx="659">DOc1592</cx:pt>
          <cx:pt idx="660">DOc1593</cx:pt>
          <cx:pt idx="661">DOc1594</cx:pt>
          <cx:pt idx="662">DOc1595</cx:pt>
          <cx:pt idx="663">DOc1596</cx:pt>
          <cx:pt idx="664">DOc1597</cx:pt>
          <cx:pt idx="665">DOc1598</cx:pt>
          <cx:pt idx="666">DOc1599</cx:pt>
          <cx:pt idx="667">DOc16</cx:pt>
          <cx:pt idx="668">DOc160</cx:pt>
          <cx:pt idx="669">DOc1600</cx:pt>
          <cx:pt idx="670">DOc1601</cx:pt>
          <cx:pt idx="671">DOc1602</cx:pt>
          <cx:pt idx="672">DOc1603</cx:pt>
          <cx:pt idx="673">DOc1604</cx:pt>
          <cx:pt idx="674">DOc1605</cx:pt>
          <cx:pt idx="675">DOc1606</cx:pt>
          <cx:pt idx="676">DOc1607</cx:pt>
          <cx:pt idx="677">DOc1608</cx:pt>
          <cx:pt idx="678">DOc1609</cx:pt>
          <cx:pt idx="679">DOc161</cx:pt>
          <cx:pt idx="680">DOc1610</cx:pt>
          <cx:pt idx="681">DOc1611</cx:pt>
          <cx:pt idx="682">DOc1612</cx:pt>
          <cx:pt idx="683">DOc1613</cx:pt>
          <cx:pt idx="684">DOc1614</cx:pt>
          <cx:pt idx="685">DOc1615</cx:pt>
          <cx:pt idx="686">DOc1616</cx:pt>
          <cx:pt idx="687">DOc1617</cx:pt>
          <cx:pt idx="688">DOc1618</cx:pt>
          <cx:pt idx="689">DOc1619</cx:pt>
          <cx:pt idx="690">DOc162</cx:pt>
          <cx:pt idx="691">DOc1620</cx:pt>
          <cx:pt idx="692">DOc1621</cx:pt>
          <cx:pt idx="693">DOc1622</cx:pt>
          <cx:pt idx="694">DOc1623</cx:pt>
          <cx:pt idx="695">DOc1624</cx:pt>
          <cx:pt idx="696">DOc1625</cx:pt>
          <cx:pt idx="697">DOc1626</cx:pt>
          <cx:pt idx="698">DOc1627</cx:pt>
          <cx:pt idx="699">DOc1628</cx:pt>
          <cx:pt idx="700">DOc1629</cx:pt>
          <cx:pt idx="701">DOc163</cx:pt>
          <cx:pt idx="702">DOc1630</cx:pt>
          <cx:pt idx="703">DOc1631</cx:pt>
          <cx:pt idx="704">DOc1632</cx:pt>
          <cx:pt idx="705">DOc1633</cx:pt>
          <cx:pt idx="706">DOc1634</cx:pt>
          <cx:pt idx="707">DOc1635</cx:pt>
          <cx:pt idx="708">DOc1636</cx:pt>
          <cx:pt idx="709">DOc1637</cx:pt>
          <cx:pt idx="710">DOc1638</cx:pt>
          <cx:pt idx="711">DOc1639</cx:pt>
          <cx:pt idx="712">DOc164</cx:pt>
          <cx:pt idx="713">DOc1640</cx:pt>
          <cx:pt idx="714">DOc1641</cx:pt>
          <cx:pt idx="715">DOc1642</cx:pt>
          <cx:pt idx="716">DOc1643</cx:pt>
          <cx:pt idx="717">DOc1644</cx:pt>
          <cx:pt idx="718">DOc1645</cx:pt>
          <cx:pt idx="719">DOc1646</cx:pt>
          <cx:pt idx="720">DOc1647</cx:pt>
          <cx:pt idx="721">DOc1648</cx:pt>
          <cx:pt idx="722">DOc1649</cx:pt>
          <cx:pt idx="723">DOc165</cx:pt>
          <cx:pt idx="724">DOc1650</cx:pt>
          <cx:pt idx="725">DOc1651</cx:pt>
          <cx:pt idx="726">DOc1652</cx:pt>
          <cx:pt idx="727">DOc1653</cx:pt>
          <cx:pt idx="728">DOc1654</cx:pt>
          <cx:pt idx="729">DOc1655</cx:pt>
          <cx:pt idx="730">DOc1656</cx:pt>
          <cx:pt idx="731">DOc1657</cx:pt>
          <cx:pt idx="732">DOc1658</cx:pt>
          <cx:pt idx="733">DOc1659</cx:pt>
          <cx:pt idx="734">DOc166</cx:pt>
          <cx:pt idx="735">DOc1660</cx:pt>
          <cx:pt idx="736">DOc1661</cx:pt>
          <cx:pt idx="737">DOc1662</cx:pt>
          <cx:pt idx="738">DOc1663</cx:pt>
          <cx:pt idx="739">DOc1664</cx:pt>
          <cx:pt idx="740">DOc1665</cx:pt>
          <cx:pt idx="741">DOc1666</cx:pt>
          <cx:pt idx="742">DOc1667</cx:pt>
          <cx:pt idx="743">DOc1668</cx:pt>
          <cx:pt idx="744">DOc1669</cx:pt>
          <cx:pt idx="745">DOc167</cx:pt>
          <cx:pt idx="746">DOc1670</cx:pt>
          <cx:pt idx="747">DOc1671</cx:pt>
          <cx:pt idx="748">DOc1672</cx:pt>
          <cx:pt idx="749">DOc1673</cx:pt>
          <cx:pt idx="750">DOc1674</cx:pt>
          <cx:pt idx="751">DOc1675</cx:pt>
          <cx:pt idx="752">DOc1676</cx:pt>
          <cx:pt idx="753">DOc1677</cx:pt>
          <cx:pt idx="754">DOc1678</cx:pt>
          <cx:pt idx="755">DOc1679</cx:pt>
          <cx:pt idx="756">DOc168</cx:pt>
          <cx:pt idx="757">DOc1680</cx:pt>
          <cx:pt idx="758">DOc1681</cx:pt>
          <cx:pt idx="759">DOc1682</cx:pt>
          <cx:pt idx="760">DOc1683</cx:pt>
          <cx:pt idx="761">DOc1684</cx:pt>
          <cx:pt idx="762">DOc1685</cx:pt>
          <cx:pt idx="763">DOc1686</cx:pt>
          <cx:pt idx="764">DOc1687</cx:pt>
          <cx:pt idx="765">DOc1688</cx:pt>
          <cx:pt idx="766">DOc1689</cx:pt>
          <cx:pt idx="767">DOc169</cx:pt>
          <cx:pt idx="768">DOc1690</cx:pt>
          <cx:pt idx="769">DOc1691</cx:pt>
          <cx:pt idx="770">DOc1692</cx:pt>
          <cx:pt idx="771">DOc1693</cx:pt>
          <cx:pt idx="772">DOc1694</cx:pt>
          <cx:pt idx="773">DOc1695</cx:pt>
          <cx:pt idx="774">DOc1696</cx:pt>
          <cx:pt idx="775">DOc1697</cx:pt>
          <cx:pt idx="776">DOc1698</cx:pt>
          <cx:pt idx="777">DOc1699</cx:pt>
          <cx:pt idx="778">DOc17</cx:pt>
          <cx:pt idx="779">DOc170</cx:pt>
          <cx:pt idx="780">DOc1700</cx:pt>
          <cx:pt idx="781">DOc1701</cx:pt>
          <cx:pt idx="782">DOc1702</cx:pt>
          <cx:pt idx="783">DOc1703</cx:pt>
          <cx:pt idx="784">DOc1704</cx:pt>
          <cx:pt idx="785">DOc1705</cx:pt>
          <cx:pt idx="786">DOc1706</cx:pt>
          <cx:pt idx="787">DOc1707</cx:pt>
          <cx:pt idx="788">DOc1708</cx:pt>
          <cx:pt idx="789">DOc1709</cx:pt>
          <cx:pt idx="790">DOc171</cx:pt>
          <cx:pt idx="791">DOc1710</cx:pt>
          <cx:pt idx="792">DOc1711</cx:pt>
          <cx:pt idx="793">DOc1712</cx:pt>
          <cx:pt idx="794">DOc1713</cx:pt>
          <cx:pt idx="795">DOc1714</cx:pt>
          <cx:pt idx="796">DOc1715</cx:pt>
          <cx:pt idx="797">DOc1716</cx:pt>
          <cx:pt idx="798">DOc1717</cx:pt>
          <cx:pt idx="799">DOc1718</cx:pt>
          <cx:pt idx="800">DOc1719</cx:pt>
          <cx:pt idx="801">DOc172</cx:pt>
          <cx:pt idx="802">DOc1720</cx:pt>
          <cx:pt idx="803">DOc1721</cx:pt>
          <cx:pt idx="804">DOc1722</cx:pt>
          <cx:pt idx="805">DOc1723</cx:pt>
          <cx:pt idx="806">DOc1724</cx:pt>
          <cx:pt idx="807">DOc1725</cx:pt>
          <cx:pt idx="808">DOc1726</cx:pt>
          <cx:pt idx="809">DOc1727</cx:pt>
          <cx:pt idx="810">DOc1728</cx:pt>
          <cx:pt idx="811">DOc1729</cx:pt>
          <cx:pt idx="812">DOc173</cx:pt>
          <cx:pt idx="813">DOc1730</cx:pt>
          <cx:pt idx="814">DOc1731</cx:pt>
          <cx:pt idx="815">DOc1732</cx:pt>
          <cx:pt idx="816">DOc1733</cx:pt>
          <cx:pt idx="817">DOc1734</cx:pt>
          <cx:pt idx="818">DOc1735</cx:pt>
          <cx:pt idx="819">DOc1736</cx:pt>
          <cx:pt idx="820">DOc1737</cx:pt>
          <cx:pt idx="821">DOc1738</cx:pt>
          <cx:pt idx="822">DOc1739</cx:pt>
          <cx:pt idx="823">DOc174</cx:pt>
          <cx:pt idx="824">DOc1740</cx:pt>
          <cx:pt idx="825">DOc1741</cx:pt>
          <cx:pt idx="826">DOc1742</cx:pt>
          <cx:pt idx="827">DOc1743</cx:pt>
          <cx:pt idx="828">DOc1744</cx:pt>
          <cx:pt idx="829">DOc1745</cx:pt>
          <cx:pt idx="830">DOc1746</cx:pt>
          <cx:pt idx="831">DOc1747</cx:pt>
          <cx:pt idx="832">DOc1748</cx:pt>
          <cx:pt idx="833">DOc1749</cx:pt>
          <cx:pt idx="834">DOc175</cx:pt>
          <cx:pt idx="835">DOc1750</cx:pt>
          <cx:pt idx="836">DOc1751</cx:pt>
          <cx:pt idx="837">DOc1752</cx:pt>
          <cx:pt idx="838">DOc1753</cx:pt>
          <cx:pt idx="839">DOc1754</cx:pt>
          <cx:pt idx="840">DOc1755</cx:pt>
          <cx:pt idx="841">DOc1756</cx:pt>
          <cx:pt idx="842">DOc1757</cx:pt>
          <cx:pt idx="843">DOc1758</cx:pt>
          <cx:pt idx="844">DOc1759</cx:pt>
          <cx:pt idx="845">DOc176</cx:pt>
          <cx:pt idx="846">DOc1760</cx:pt>
          <cx:pt idx="847">DOc1761</cx:pt>
          <cx:pt idx="848">DOc1762</cx:pt>
          <cx:pt idx="849">DOc1763</cx:pt>
          <cx:pt idx="850">DOc1764</cx:pt>
          <cx:pt idx="851">DOc1765</cx:pt>
          <cx:pt idx="852">DOc1766</cx:pt>
          <cx:pt idx="853">DOc1767</cx:pt>
          <cx:pt idx="854">DOc1768</cx:pt>
          <cx:pt idx="855">DOc1769</cx:pt>
          <cx:pt idx="856">DOc177</cx:pt>
          <cx:pt idx="857">DOc1770</cx:pt>
          <cx:pt idx="858">DOc1771</cx:pt>
          <cx:pt idx="859">DOc1772</cx:pt>
          <cx:pt idx="860">DOc1773</cx:pt>
          <cx:pt idx="861">DOc1774</cx:pt>
          <cx:pt idx="862">DOc1775</cx:pt>
          <cx:pt idx="863">DOc1776</cx:pt>
          <cx:pt idx="864">DOc1777</cx:pt>
          <cx:pt idx="865">DOc1778</cx:pt>
          <cx:pt idx="866">DOc1779</cx:pt>
          <cx:pt idx="867">DOc178</cx:pt>
          <cx:pt idx="868">DOc1780</cx:pt>
          <cx:pt idx="869">DOc1781</cx:pt>
          <cx:pt idx="870">DOc1782</cx:pt>
          <cx:pt idx="871">DOc1783</cx:pt>
          <cx:pt idx="872">DOc1784</cx:pt>
          <cx:pt idx="873">DOc1785</cx:pt>
          <cx:pt idx="874">DOc1786</cx:pt>
          <cx:pt idx="875">DOc1787</cx:pt>
          <cx:pt idx="876">DOc1788</cx:pt>
          <cx:pt idx="877">DOc1789</cx:pt>
          <cx:pt idx="878">DOc179</cx:pt>
          <cx:pt idx="879">DOc1790</cx:pt>
          <cx:pt idx="880">DOc1791</cx:pt>
          <cx:pt idx="881">DOc1792</cx:pt>
          <cx:pt idx="882">DOc1793</cx:pt>
          <cx:pt idx="883">DOc1794</cx:pt>
          <cx:pt idx="884">DOc1795</cx:pt>
          <cx:pt idx="885">DOc1796</cx:pt>
          <cx:pt idx="886">DOc1797</cx:pt>
          <cx:pt idx="887">DOc1798</cx:pt>
          <cx:pt idx="888">DOc1799</cx:pt>
          <cx:pt idx="889">DOc18</cx:pt>
          <cx:pt idx="890">DOc180</cx:pt>
          <cx:pt idx="891">DOc1800</cx:pt>
          <cx:pt idx="892">DOc1801</cx:pt>
          <cx:pt idx="893">DOc1802</cx:pt>
          <cx:pt idx="894">DOc1803</cx:pt>
          <cx:pt idx="895">DOc1804</cx:pt>
          <cx:pt idx="896">DOc1805</cx:pt>
          <cx:pt idx="897">DOc1806</cx:pt>
          <cx:pt idx="898">DOc1807</cx:pt>
          <cx:pt idx="899">DOc1808</cx:pt>
          <cx:pt idx="900">DOc1809</cx:pt>
          <cx:pt idx="901">DOc181</cx:pt>
          <cx:pt idx="902">DOc1810</cx:pt>
          <cx:pt idx="903">DOc1811</cx:pt>
          <cx:pt idx="904">DOc1812</cx:pt>
          <cx:pt idx="905">DOc1813</cx:pt>
          <cx:pt idx="906">DOc1814</cx:pt>
          <cx:pt idx="907">DOc1815</cx:pt>
          <cx:pt idx="908">DOc1816</cx:pt>
          <cx:pt idx="909">DOc1817</cx:pt>
          <cx:pt idx="910">DOc1818</cx:pt>
          <cx:pt idx="911">DOc1819</cx:pt>
          <cx:pt idx="912">DOc182</cx:pt>
          <cx:pt idx="913">DOc1820</cx:pt>
          <cx:pt idx="914">DOc1821</cx:pt>
          <cx:pt idx="915">DOc1822</cx:pt>
          <cx:pt idx="916">DOc1823</cx:pt>
          <cx:pt idx="917">DOc1824</cx:pt>
          <cx:pt idx="918">DOc1825</cx:pt>
          <cx:pt idx="919">DOc1826</cx:pt>
          <cx:pt idx="920">DOc1827</cx:pt>
          <cx:pt idx="921">DOc1828</cx:pt>
          <cx:pt idx="922">DOc1829</cx:pt>
          <cx:pt idx="923">DOc183</cx:pt>
          <cx:pt idx="924">DOc1830</cx:pt>
          <cx:pt idx="925">DOc1831</cx:pt>
          <cx:pt idx="926">DOc1832</cx:pt>
          <cx:pt idx="927">DOc1833</cx:pt>
          <cx:pt idx="928">DOc1834</cx:pt>
          <cx:pt idx="929">DOc1835</cx:pt>
          <cx:pt idx="930">DOc1836</cx:pt>
          <cx:pt idx="931">DOc1837</cx:pt>
          <cx:pt idx="932">DOc1838</cx:pt>
          <cx:pt idx="933">DOc1839</cx:pt>
          <cx:pt idx="934">DOc184</cx:pt>
          <cx:pt idx="935">DOc1840</cx:pt>
          <cx:pt idx="936">DOc1841</cx:pt>
          <cx:pt idx="937">DOc1842</cx:pt>
          <cx:pt idx="938">DOc1843</cx:pt>
          <cx:pt idx="939">DOc1844</cx:pt>
          <cx:pt idx="940">DOc1845</cx:pt>
          <cx:pt idx="941">DOc1846</cx:pt>
          <cx:pt idx="942">DOc1847</cx:pt>
          <cx:pt idx="943">DOc1848</cx:pt>
          <cx:pt idx="944">DOc1849</cx:pt>
          <cx:pt idx="945">DOc185</cx:pt>
          <cx:pt idx="946">DOc1850</cx:pt>
          <cx:pt idx="947">DOc1851</cx:pt>
          <cx:pt idx="948">DOc1852</cx:pt>
          <cx:pt idx="949">DOc1853</cx:pt>
          <cx:pt idx="950">DOc1854</cx:pt>
          <cx:pt idx="951">DOc1855</cx:pt>
          <cx:pt idx="952">DOc1856</cx:pt>
          <cx:pt idx="953">DOc1857</cx:pt>
          <cx:pt idx="954">DOc1858</cx:pt>
          <cx:pt idx="955">DOc1859</cx:pt>
          <cx:pt idx="956">DOc186</cx:pt>
          <cx:pt idx="957">DOc1860</cx:pt>
          <cx:pt idx="958">DOc1861</cx:pt>
          <cx:pt idx="959">DOc1862</cx:pt>
          <cx:pt idx="960">DOc1863</cx:pt>
          <cx:pt idx="961">DOc1864</cx:pt>
          <cx:pt idx="962">DOc1865</cx:pt>
          <cx:pt idx="963">DOc1866</cx:pt>
          <cx:pt idx="964">DOc1867</cx:pt>
          <cx:pt idx="965">DOc1868</cx:pt>
          <cx:pt idx="966">DOc1869</cx:pt>
          <cx:pt idx="967">DOc187</cx:pt>
          <cx:pt idx="968">DOc1870</cx:pt>
          <cx:pt idx="969">DOc1871</cx:pt>
          <cx:pt idx="970">DOc1872</cx:pt>
          <cx:pt idx="971">DOc1873</cx:pt>
          <cx:pt idx="972">DOc1874</cx:pt>
          <cx:pt idx="973">DOc1875</cx:pt>
          <cx:pt idx="974">DOc1876</cx:pt>
          <cx:pt idx="975">DOc1877</cx:pt>
          <cx:pt idx="976">DOc1878</cx:pt>
          <cx:pt idx="977">DOc1879</cx:pt>
          <cx:pt idx="978">DOc188</cx:pt>
          <cx:pt idx="979">DOc1880</cx:pt>
          <cx:pt idx="980">DOc1881</cx:pt>
          <cx:pt idx="981">DOc1882</cx:pt>
          <cx:pt idx="982">DOc1883</cx:pt>
          <cx:pt idx="983">DOc1884</cx:pt>
          <cx:pt idx="984">DOc1885</cx:pt>
          <cx:pt idx="985">DOc1886</cx:pt>
          <cx:pt idx="986">DOc1887</cx:pt>
          <cx:pt idx="987">DOc1888</cx:pt>
          <cx:pt idx="988">DOc1889</cx:pt>
          <cx:pt idx="989">DOc189</cx:pt>
          <cx:pt idx="990">DOc1890</cx:pt>
          <cx:pt idx="991">DOc1891</cx:pt>
          <cx:pt idx="992">DOc1892</cx:pt>
          <cx:pt idx="993">DOc1893</cx:pt>
          <cx:pt idx="994">DOc1894</cx:pt>
          <cx:pt idx="995">DOc1895</cx:pt>
          <cx:pt idx="996">DOc1896</cx:pt>
          <cx:pt idx="997">DOc1897</cx:pt>
          <cx:pt idx="998">DOc1898</cx:pt>
          <cx:pt idx="999">DOc1899</cx:pt>
          <cx:pt idx="1000">DOc19</cx:pt>
          <cx:pt idx="1001">DOc190</cx:pt>
          <cx:pt idx="1002">DOc1900</cx:pt>
          <cx:pt idx="1003">DOc1901</cx:pt>
          <cx:pt idx="1004">DOc1902</cx:pt>
          <cx:pt idx="1005">DOc1903</cx:pt>
          <cx:pt idx="1006">DOc1904</cx:pt>
          <cx:pt idx="1007">DOc1905</cx:pt>
          <cx:pt idx="1008">DOc1906</cx:pt>
          <cx:pt idx="1009">DOc1907</cx:pt>
          <cx:pt idx="1010">DOc1908</cx:pt>
          <cx:pt idx="1011">DOc1909</cx:pt>
          <cx:pt idx="1012">DOc191</cx:pt>
          <cx:pt idx="1013">DOc1910</cx:pt>
          <cx:pt idx="1014">DOc1911</cx:pt>
          <cx:pt idx="1015">DOc1912</cx:pt>
          <cx:pt idx="1016">DOc1913</cx:pt>
          <cx:pt idx="1017">DOc1914</cx:pt>
          <cx:pt idx="1018">DOc1915</cx:pt>
          <cx:pt idx="1019">DOc1916</cx:pt>
          <cx:pt idx="1020">DOc1917</cx:pt>
          <cx:pt idx="1021">DOc1918</cx:pt>
          <cx:pt idx="1022">DOc1919</cx:pt>
          <cx:pt idx="1023">DOc192</cx:pt>
          <cx:pt idx="1024">DOc1920</cx:pt>
          <cx:pt idx="1025">DOc1921</cx:pt>
          <cx:pt idx="1026">DOc1922</cx:pt>
          <cx:pt idx="1027">DOc1923</cx:pt>
          <cx:pt idx="1028">DOc1924</cx:pt>
          <cx:pt idx="1029">DOc1925</cx:pt>
          <cx:pt idx="1030">DOc1926</cx:pt>
          <cx:pt idx="1031">DOc1927</cx:pt>
          <cx:pt idx="1032">DOc1928</cx:pt>
          <cx:pt idx="1033">DOc1929</cx:pt>
          <cx:pt idx="1034">DOc193</cx:pt>
          <cx:pt idx="1035">DOc1930</cx:pt>
          <cx:pt idx="1036">DOc1931</cx:pt>
          <cx:pt idx="1037">DOc1932</cx:pt>
          <cx:pt idx="1038">DOc1933</cx:pt>
          <cx:pt idx="1039">DOc1934</cx:pt>
          <cx:pt idx="1040">DOc1935</cx:pt>
          <cx:pt idx="1041">DOc1936</cx:pt>
          <cx:pt idx="1042">DOc1937</cx:pt>
          <cx:pt idx="1043">DOc1938</cx:pt>
          <cx:pt idx="1044">DOc1939</cx:pt>
          <cx:pt idx="1045">DOc194</cx:pt>
          <cx:pt idx="1046">DOc1940</cx:pt>
          <cx:pt idx="1047">DOc1941</cx:pt>
          <cx:pt idx="1048">DOc1942</cx:pt>
          <cx:pt idx="1049">DOc1943</cx:pt>
          <cx:pt idx="1050">DOc1944</cx:pt>
          <cx:pt idx="1051">DOc1945</cx:pt>
          <cx:pt idx="1052">DOc1946</cx:pt>
          <cx:pt idx="1053">DOc1947</cx:pt>
          <cx:pt idx="1054">DOc1948</cx:pt>
          <cx:pt idx="1055">DOc1949</cx:pt>
          <cx:pt idx="1056">DOc195</cx:pt>
          <cx:pt idx="1057">DOc1950</cx:pt>
          <cx:pt idx="1058">DOc1951</cx:pt>
          <cx:pt idx="1059">DOc1952</cx:pt>
          <cx:pt idx="1060">DOc1953</cx:pt>
          <cx:pt idx="1061">DOc1954</cx:pt>
          <cx:pt idx="1062">DOc1955</cx:pt>
          <cx:pt idx="1063">DOc1956</cx:pt>
          <cx:pt idx="1064">DOc1957</cx:pt>
          <cx:pt idx="1065">DOc1958</cx:pt>
          <cx:pt idx="1066">DOc1959</cx:pt>
          <cx:pt idx="1067">DOc196</cx:pt>
          <cx:pt idx="1068">DOc1960</cx:pt>
          <cx:pt idx="1069">DOc1961</cx:pt>
          <cx:pt idx="1070">DOc1962</cx:pt>
          <cx:pt idx="1071">DOc1963</cx:pt>
          <cx:pt idx="1072">DOc1964</cx:pt>
          <cx:pt idx="1073">DOc1965</cx:pt>
          <cx:pt idx="1074">DOc1966</cx:pt>
          <cx:pt idx="1075">DOc1967</cx:pt>
          <cx:pt idx="1076">DOc1968</cx:pt>
          <cx:pt idx="1077">DOc1969</cx:pt>
          <cx:pt idx="1078">DOc197</cx:pt>
          <cx:pt idx="1079">DOc1970</cx:pt>
          <cx:pt idx="1080">DOc1971</cx:pt>
          <cx:pt idx="1081">DOc1972</cx:pt>
          <cx:pt idx="1082">DOc1973</cx:pt>
          <cx:pt idx="1083">DOc1974</cx:pt>
          <cx:pt idx="1084">DOc1975</cx:pt>
          <cx:pt idx="1085">DOc1976</cx:pt>
          <cx:pt idx="1086">DOc1977</cx:pt>
          <cx:pt idx="1087">DOc1978</cx:pt>
          <cx:pt idx="1088">DOc1979</cx:pt>
          <cx:pt idx="1089">DOc198</cx:pt>
          <cx:pt idx="1090">DOc1980</cx:pt>
          <cx:pt idx="1091">DOc1981</cx:pt>
          <cx:pt idx="1092">DOc1982</cx:pt>
          <cx:pt idx="1093">DOc1983</cx:pt>
          <cx:pt idx="1094">DOc1984</cx:pt>
          <cx:pt idx="1095">DOc1985</cx:pt>
          <cx:pt idx="1096">DOc1986</cx:pt>
          <cx:pt idx="1097">DOc1987</cx:pt>
          <cx:pt idx="1098">DOc1988</cx:pt>
          <cx:pt idx="1099">DOc1989</cx:pt>
          <cx:pt idx="1100">DOc199</cx:pt>
          <cx:pt idx="1101">DOc1990</cx:pt>
          <cx:pt idx="1102">DOc1991</cx:pt>
          <cx:pt idx="1103">DOc1992</cx:pt>
          <cx:pt idx="1104">DOc1993</cx:pt>
          <cx:pt idx="1105">DOc1994</cx:pt>
          <cx:pt idx="1106">DOc1995</cx:pt>
          <cx:pt idx="1107">DOc1996</cx:pt>
          <cx:pt idx="1108">DOc1997</cx:pt>
          <cx:pt idx="1109">DOc1998</cx:pt>
          <cx:pt idx="1110">DOc1999</cx:pt>
          <cx:pt idx="1111">DOc2</cx:pt>
          <cx:pt idx="1112">DOc20</cx:pt>
          <cx:pt idx="1113">DOc200</cx:pt>
          <cx:pt idx="1114">DOc2000</cx:pt>
          <cx:pt idx="1115">DOc2001</cx:pt>
          <cx:pt idx="1116">DOc2002</cx:pt>
          <cx:pt idx="1117">DOc2003</cx:pt>
          <cx:pt idx="1118">DOc2004</cx:pt>
          <cx:pt idx="1119">DOc2005</cx:pt>
          <cx:pt idx="1120">DOc2006</cx:pt>
          <cx:pt idx="1121">DOc2007</cx:pt>
          <cx:pt idx="1122">DOc2008</cx:pt>
          <cx:pt idx="1123">DOc2009</cx:pt>
          <cx:pt idx="1124">DOc201</cx:pt>
          <cx:pt idx="1125">DOc2010</cx:pt>
          <cx:pt idx="1126">DOc2011</cx:pt>
          <cx:pt idx="1127">DOc2012</cx:pt>
          <cx:pt idx="1128">DOc2013</cx:pt>
          <cx:pt idx="1129">DOc2014</cx:pt>
          <cx:pt idx="1130">DOc2015</cx:pt>
          <cx:pt idx="1131">DOc2016</cx:pt>
          <cx:pt idx="1132">DOc2017</cx:pt>
          <cx:pt idx="1133">DOc2018</cx:pt>
          <cx:pt idx="1134">DOc2019</cx:pt>
          <cx:pt idx="1135">DOc202</cx:pt>
          <cx:pt idx="1136">DOc2020</cx:pt>
          <cx:pt idx="1137">DOc2021</cx:pt>
          <cx:pt idx="1138">DOc2022</cx:pt>
          <cx:pt idx="1139">DOc2023</cx:pt>
          <cx:pt idx="1140">DOc2024</cx:pt>
          <cx:pt idx="1141">DOc2025</cx:pt>
          <cx:pt idx="1142">DOc2026</cx:pt>
          <cx:pt idx="1143">DOc2027</cx:pt>
          <cx:pt idx="1144">DOc2028</cx:pt>
          <cx:pt idx="1145">DOc2029</cx:pt>
          <cx:pt idx="1146">DOc203</cx:pt>
          <cx:pt idx="1147">DOc2030</cx:pt>
          <cx:pt idx="1148">DOc2031</cx:pt>
          <cx:pt idx="1149">DOc2032</cx:pt>
          <cx:pt idx="1150">DOc2033</cx:pt>
          <cx:pt idx="1151">DOc2034</cx:pt>
          <cx:pt idx="1152">DOc2035</cx:pt>
          <cx:pt idx="1153">DOc2036</cx:pt>
          <cx:pt idx="1154">DOc2037</cx:pt>
          <cx:pt idx="1155">DOc2038</cx:pt>
          <cx:pt idx="1156">DOc2039</cx:pt>
          <cx:pt idx="1157">DOc204</cx:pt>
          <cx:pt idx="1158">DOc2040</cx:pt>
          <cx:pt idx="1159">DOc2041</cx:pt>
          <cx:pt idx="1160">DOc2042</cx:pt>
          <cx:pt idx="1161">DOc2043</cx:pt>
          <cx:pt idx="1162">DOc2044</cx:pt>
          <cx:pt idx="1163">DOc2045</cx:pt>
          <cx:pt idx="1164">DOc2046</cx:pt>
          <cx:pt idx="1165">DOc2047</cx:pt>
          <cx:pt idx="1166">DOc2048</cx:pt>
          <cx:pt idx="1167">DOc2049</cx:pt>
          <cx:pt idx="1168">DOc205</cx:pt>
          <cx:pt idx="1169">DOc2050</cx:pt>
          <cx:pt idx="1170">DOc2051</cx:pt>
          <cx:pt idx="1171">DOc2052</cx:pt>
          <cx:pt idx="1172">DOc2053</cx:pt>
          <cx:pt idx="1173">DOc2054</cx:pt>
          <cx:pt idx="1174">DOc2055</cx:pt>
          <cx:pt idx="1175">DOc2056</cx:pt>
          <cx:pt idx="1176">DOc2057</cx:pt>
          <cx:pt idx="1177">DOc2058</cx:pt>
          <cx:pt idx="1178">DOc2059</cx:pt>
          <cx:pt idx="1179">DOc206</cx:pt>
          <cx:pt idx="1180">DOc2060</cx:pt>
          <cx:pt idx="1181">DOc2061</cx:pt>
          <cx:pt idx="1182">DOc2062</cx:pt>
          <cx:pt idx="1183">DOc2063</cx:pt>
          <cx:pt idx="1184">DOc2064</cx:pt>
          <cx:pt idx="1185">DOc2065</cx:pt>
          <cx:pt idx="1186">DOc2066</cx:pt>
          <cx:pt idx="1187">DOc2067</cx:pt>
          <cx:pt idx="1188">DOc2068</cx:pt>
          <cx:pt idx="1189">DOc2069</cx:pt>
          <cx:pt idx="1190">DOc207</cx:pt>
          <cx:pt idx="1191">DOc2070</cx:pt>
          <cx:pt idx="1192">DOc2071</cx:pt>
          <cx:pt idx="1193">DOc2072</cx:pt>
          <cx:pt idx="1194">DOc2073</cx:pt>
          <cx:pt idx="1195">DOc2074</cx:pt>
          <cx:pt idx="1196">DOc2075</cx:pt>
          <cx:pt idx="1197">DOc2076</cx:pt>
          <cx:pt idx="1198">DOc2077</cx:pt>
          <cx:pt idx="1199">DOc2078</cx:pt>
          <cx:pt idx="1200">DOc2079</cx:pt>
          <cx:pt idx="1201">DOc208</cx:pt>
          <cx:pt idx="1202">DOc2080</cx:pt>
          <cx:pt idx="1203">DOc2081</cx:pt>
          <cx:pt idx="1204">DOc2082</cx:pt>
          <cx:pt idx="1205">DOc2083</cx:pt>
          <cx:pt idx="1206">DOc2084</cx:pt>
          <cx:pt idx="1207">DOc2085</cx:pt>
          <cx:pt idx="1208">DOc2086</cx:pt>
          <cx:pt idx="1209">DOc2087</cx:pt>
          <cx:pt idx="1210">DOc2088</cx:pt>
          <cx:pt idx="1211">DOc2089</cx:pt>
          <cx:pt idx="1212">DOc209</cx:pt>
          <cx:pt idx="1213">DOc2090</cx:pt>
          <cx:pt idx="1214">DOc2091</cx:pt>
          <cx:pt idx="1215">DOc2092</cx:pt>
          <cx:pt idx="1216">DOc2093</cx:pt>
          <cx:pt idx="1217">DOc2094</cx:pt>
          <cx:pt idx="1218">DOc2095</cx:pt>
          <cx:pt idx="1219">DOc2096</cx:pt>
          <cx:pt idx="1220">DOc2097</cx:pt>
          <cx:pt idx="1221">DOc2098</cx:pt>
          <cx:pt idx="1222">DOc2099</cx:pt>
          <cx:pt idx="1223">DOc21</cx:pt>
          <cx:pt idx="1224">DOc210</cx:pt>
          <cx:pt idx="1225">DOc2100</cx:pt>
          <cx:pt idx="1226">DOc2101</cx:pt>
          <cx:pt idx="1227">DOc2102</cx:pt>
          <cx:pt idx="1228">DOc2103</cx:pt>
          <cx:pt idx="1229">DOc2104</cx:pt>
          <cx:pt idx="1230">DOc2105</cx:pt>
          <cx:pt idx="1231">DOc2106</cx:pt>
          <cx:pt idx="1232">DOc2107</cx:pt>
          <cx:pt idx="1233">DOc2108</cx:pt>
          <cx:pt idx="1234">DOc2109</cx:pt>
          <cx:pt idx="1235">DOc211</cx:pt>
          <cx:pt idx="1236">DOc2110</cx:pt>
          <cx:pt idx="1237">DOc2111</cx:pt>
          <cx:pt idx="1238">DOc2112</cx:pt>
          <cx:pt idx="1239">DOc2113</cx:pt>
          <cx:pt idx="1240">DOc2114</cx:pt>
          <cx:pt idx="1241">DOc2115</cx:pt>
          <cx:pt idx="1242">DOc2116</cx:pt>
          <cx:pt idx="1243">DOc2117</cx:pt>
          <cx:pt idx="1244">DOc2118</cx:pt>
          <cx:pt idx="1245">DOc2119</cx:pt>
          <cx:pt idx="1246">DOc212</cx:pt>
          <cx:pt idx="1247">DOc2120</cx:pt>
          <cx:pt idx="1248">DOc2121</cx:pt>
          <cx:pt idx="1249">DOc2122</cx:pt>
          <cx:pt idx="1250">DOc2123</cx:pt>
          <cx:pt idx="1251">DOc2124</cx:pt>
          <cx:pt idx="1252">DOc2125</cx:pt>
          <cx:pt idx="1253">DOc2126</cx:pt>
          <cx:pt idx="1254">DOc2127</cx:pt>
          <cx:pt idx="1255">DOc2128</cx:pt>
          <cx:pt idx="1256">DOc2129</cx:pt>
          <cx:pt idx="1257">DOc213</cx:pt>
          <cx:pt idx="1258">DOc2130</cx:pt>
          <cx:pt idx="1259">DOc2131</cx:pt>
          <cx:pt idx="1260">DOc2132</cx:pt>
          <cx:pt idx="1261">DOc2133</cx:pt>
          <cx:pt idx="1262">DOc2134</cx:pt>
          <cx:pt idx="1263">DOc2135</cx:pt>
          <cx:pt idx="1264">DOc2136</cx:pt>
          <cx:pt idx="1265">DOc2137</cx:pt>
          <cx:pt idx="1266">DOc2138</cx:pt>
          <cx:pt idx="1267">DOc2139</cx:pt>
          <cx:pt idx="1268">DOc214</cx:pt>
          <cx:pt idx="1269">DOc2140</cx:pt>
          <cx:pt idx="1270">DOc2141</cx:pt>
          <cx:pt idx="1271">DOc2142</cx:pt>
          <cx:pt idx="1272">DOc2143</cx:pt>
          <cx:pt idx="1273">DOc2144</cx:pt>
          <cx:pt idx="1274">DOc2145</cx:pt>
          <cx:pt idx="1275">DOc2146</cx:pt>
          <cx:pt idx="1276">DOc2147</cx:pt>
          <cx:pt idx="1277">DOc2148</cx:pt>
          <cx:pt idx="1278">DOc2149</cx:pt>
          <cx:pt idx="1279">DOc215</cx:pt>
          <cx:pt idx="1280">DOc2150</cx:pt>
          <cx:pt idx="1281">DOc2151</cx:pt>
          <cx:pt idx="1282">DOc2152</cx:pt>
          <cx:pt idx="1283">DOc2153</cx:pt>
          <cx:pt idx="1284">DOc2154</cx:pt>
          <cx:pt idx="1285">DOc2155</cx:pt>
          <cx:pt idx="1286">DOc2156</cx:pt>
          <cx:pt idx="1287">DOc2157</cx:pt>
          <cx:pt idx="1288">DOc2158</cx:pt>
          <cx:pt idx="1289">DOc2159</cx:pt>
          <cx:pt idx="1290">DOc216</cx:pt>
          <cx:pt idx="1291">DOc2160</cx:pt>
          <cx:pt idx="1292">DOc2161</cx:pt>
          <cx:pt idx="1293">DOc2162</cx:pt>
          <cx:pt idx="1294">DOc2163</cx:pt>
          <cx:pt idx="1295">DOc2164</cx:pt>
          <cx:pt idx="1296">DOc2165</cx:pt>
          <cx:pt idx="1297">DOc2166</cx:pt>
          <cx:pt idx="1298">DOc2167</cx:pt>
          <cx:pt idx="1299">DOc2168</cx:pt>
          <cx:pt idx="1300">DOc2169</cx:pt>
          <cx:pt idx="1301">DOc217</cx:pt>
          <cx:pt idx="1302">DOc2170</cx:pt>
          <cx:pt idx="1303">DOc2171</cx:pt>
          <cx:pt idx="1304">DOc2172</cx:pt>
          <cx:pt idx="1305">DOc2173</cx:pt>
          <cx:pt idx="1306">DOc2174</cx:pt>
          <cx:pt idx="1307">DOc2175</cx:pt>
          <cx:pt idx="1308">DOc2176</cx:pt>
          <cx:pt idx="1309">DOc2177</cx:pt>
          <cx:pt idx="1310">DOc2178</cx:pt>
          <cx:pt idx="1311">DOc2179</cx:pt>
          <cx:pt idx="1312">DOc218</cx:pt>
          <cx:pt idx="1313">DOc2180</cx:pt>
          <cx:pt idx="1314">DOc2181</cx:pt>
          <cx:pt idx="1315">DOc2182</cx:pt>
          <cx:pt idx="1316">DOc2183</cx:pt>
          <cx:pt idx="1317">DOc2184</cx:pt>
          <cx:pt idx="1318">DOc2185</cx:pt>
          <cx:pt idx="1319">DOc2186</cx:pt>
          <cx:pt idx="1320">DOc2187</cx:pt>
          <cx:pt idx="1321">DOc2188</cx:pt>
          <cx:pt idx="1322">DOc2189</cx:pt>
          <cx:pt idx="1323">DOc219</cx:pt>
          <cx:pt idx="1324">DOc2190</cx:pt>
          <cx:pt idx="1325">DOc2191</cx:pt>
          <cx:pt idx="1326">DOc2192</cx:pt>
          <cx:pt idx="1327">DOc2193</cx:pt>
          <cx:pt idx="1328">DOc2194</cx:pt>
          <cx:pt idx="1329">DOc2195</cx:pt>
          <cx:pt idx="1330">DOc2196</cx:pt>
          <cx:pt idx="1331">DOc2197</cx:pt>
          <cx:pt idx="1332">DOc2198</cx:pt>
          <cx:pt idx="1333">DOc2199</cx:pt>
          <cx:pt idx="1334">DOc22</cx:pt>
          <cx:pt idx="1335">DOc220</cx:pt>
          <cx:pt idx="1336">DOc2200</cx:pt>
          <cx:pt idx="1337">DOc2201</cx:pt>
          <cx:pt idx="1338">DOc2202</cx:pt>
          <cx:pt idx="1339">DOc2203</cx:pt>
          <cx:pt idx="1340">DOc2204</cx:pt>
          <cx:pt idx="1341">DOc2205</cx:pt>
          <cx:pt idx="1342">DOc2206</cx:pt>
          <cx:pt idx="1343">DOc2207</cx:pt>
          <cx:pt idx="1344">DOc2208</cx:pt>
          <cx:pt idx="1345">DOc2209</cx:pt>
          <cx:pt idx="1346">DOc221</cx:pt>
          <cx:pt idx="1347">DOc2210</cx:pt>
          <cx:pt idx="1348">DOc2211</cx:pt>
          <cx:pt idx="1349">DOc2212</cx:pt>
          <cx:pt idx="1350">DOc2213</cx:pt>
          <cx:pt idx="1351">DOc2214</cx:pt>
          <cx:pt idx="1352">DOc2215</cx:pt>
          <cx:pt idx="1353">DOc2216</cx:pt>
          <cx:pt idx="1354">DOc2217</cx:pt>
          <cx:pt idx="1355">DOc2218</cx:pt>
          <cx:pt idx="1356">DOc2219</cx:pt>
          <cx:pt idx="1357">DOc222</cx:pt>
          <cx:pt idx="1358">DOc2220</cx:pt>
          <cx:pt idx="1359">DOc2221</cx:pt>
          <cx:pt idx="1360">DOc2222</cx:pt>
          <cx:pt idx="1361">DOc2223</cx:pt>
          <cx:pt idx="1362">DOc2224</cx:pt>
          <cx:pt idx="1363">DOc2225</cx:pt>
          <cx:pt idx="1364">DOc2226</cx:pt>
          <cx:pt idx="1365">DOc2227</cx:pt>
          <cx:pt idx="1366">DOc2228</cx:pt>
          <cx:pt idx="1367">DOc2229</cx:pt>
          <cx:pt idx="1368">DOc223</cx:pt>
          <cx:pt idx="1369">DOc2230</cx:pt>
          <cx:pt idx="1370">DOc2231</cx:pt>
          <cx:pt idx="1371">DOc2232</cx:pt>
          <cx:pt idx="1372">DOc2233</cx:pt>
          <cx:pt idx="1373">DOc2234</cx:pt>
          <cx:pt idx="1374">DOc2235</cx:pt>
          <cx:pt idx="1375">DOc2236</cx:pt>
          <cx:pt idx="1376">DOc2237</cx:pt>
          <cx:pt idx="1377">DOc2238</cx:pt>
          <cx:pt idx="1378">DOc2239</cx:pt>
          <cx:pt idx="1379">DOc224</cx:pt>
          <cx:pt idx="1380">DOc2240</cx:pt>
          <cx:pt idx="1381">DOc2241</cx:pt>
          <cx:pt idx="1382">DOc2242</cx:pt>
          <cx:pt idx="1383">DOc2243</cx:pt>
          <cx:pt idx="1384">DOc2244</cx:pt>
          <cx:pt idx="1385">DOc2245</cx:pt>
          <cx:pt idx="1386">DOc2246</cx:pt>
          <cx:pt idx="1387">DOc2247</cx:pt>
          <cx:pt idx="1388">DOc2248</cx:pt>
          <cx:pt idx="1389">DOc2249</cx:pt>
          <cx:pt idx="1390">DOc225</cx:pt>
          <cx:pt idx="1391">DOc2250</cx:pt>
          <cx:pt idx="1392">DOc2251</cx:pt>
          <cx:pt idx="1393">DOc2252</cx:pt>
          <cx:pt idx="1394">DOc2253</cx:pt>
          <cx:pt idx="1395">DOc2254</cx:pt>
          <cx:pt idx="1396">DOc2255</cx:pt>
          <cx:pt idx="1397">DOc2256</cx:pt>
          <cx:pt idx="1398">DOc2257</cx:pt>
          <cx:pt idx="1399">DOc2258</cx:pt>
          <cx:pt idx="1400">DOc2259</cx:pt>
          <cx:pt idx="1401">DOc226</cx:pt>
          <cx:pt idx="1402">DOc2260</cx:pt>
          <cx:pt idx="1403">DOc2261</cx:pt>
          <cx:pt idx="1404">DOc2262</cx:pt>
          <cx:pt idx="1405">DOc2263</cx:pt>
          <cx:pt idx="1406">DOc2264</cx:pt>
          <cx:pt idx="1407">DOc2265</cx:pt>
          <cx:pt idx="1408">DOc2266</cx:pt>
          <cx:pt idx="1409">DOc2267</cx:pt>
          <cx:pt idx="1410">DOc2268</cx:pt>
          <cx:pt idx="1411">DOc2269</cx:pt>
          <cx:pt idx="1412">DOc227</cx:pt>
          <cx:pt idx="1413">DOc2270</cx:pt>
          <cx:pt idx="1414">DOc2271</cx:pt>
          <cx:pt idx="1415">DOc2272</cx:pt>
          <cx:pt idx="1416">DOc2273</cx:pt>
          <cx:pt idx="1417">DOc2274</cx:pt>
          <cx:pt idx="1418">DOc2275</cx:pt>
          <cx:pt idx="1419">DOc2276</cx:pt>
          <cx:pt idx="1420">DOc2277</cx:pt>
          <cx:pt idx="1421">DOc2278</cx:pt>
          <cx:pt idx="1422">DOc2279</cx:pt>
          <cx:pt idx="1423">DOc228</cx:pt>
          <cx:pt idx="1424">DOc2280</cx:pt>
          <cx:pt idx="1425">DOc2281</cx:pt>
          <cx:pt idx="1426">DOc2282</cx:pt>
          <cx:pt idx="1427">DOc2283</cx:pt>
          <cx:pt idx="1428">DOc2284</cx:pt>
          <cx:pt idx="1429">DOc2285</cx:pt>
          <cx:pt idx="1430">DOc2286</cx:pt>
          <cx:pt idx="1431">DOc2287</cx:pt>
          <cx:pt idx="1432">DOc2288</cx:pt>
          <cx:pt idx="1433">DOc2289</cx:pt>
          <cx:pt idx="1434">DOc229</cx:pt>
          <cx:pt idx="1435">DOc2290</cx:pt>
          <cx:pt idx="1436">DOc2291</cx:pt>
          <cx:pt idx="1437">DOc2292</cx:pt>
          <cx:pt idx="1438">DOc2293</cx:pt>
          <cx:pt idx="1439">DOc2294</cx:pt>
          <cx:pt idx="1440">DOc2295</cx:pt>
          <cx:pt idx="1441">DOc2296</cx:pt>
          <cx:pt idx="1442">DOc2297</cx:pt>
          <cx:pt idx="1443">DOc2298</cx:pt>
          <cx:pt idx="1444">DOc2299</cx:pt>
          <cx:pt idx="1445">DOc23</cx:pt>
          <cx:pt idx="1446">DOc230</cx:pt>
          <cx:pt idx="1447">DOc2300</cx:pt>
          <cx:pt idx="1448">DOc2301</cx:pt>
          <cx:pt idx="1449">DOc2302</cx:pt>
          <cx:pt idx="1450">DOc2303</cx:pt>
          <cx:pt idx="1451">DOc2304</cx:pt>
          <cx:pt idx="1452">DOc2305</cx:pt>
          <cx:pt idx="1453">DOc2306</cx:pt>
          <cx:pt idx="1454">DOc2307</cx:pt>
          <cx:pt idx="1455">DOc2308</cx:pt>
          <cx:pt idx="1456">DOc2309</cx:pt>
          <cx:pt idx="1457">DOc231</cx:pt>
          <cx:pt idx="1458">DOc2310</cx:pt>
          <cx:pt idx="1459">DOc2311</cx:pt>
          <cx:pt idx="1460">DOc2312</cx:pt>
          <cx:pt idx="1461">DOc2313</cx:pt>
          <cx:pt idx="1462">DOc2314</cx:pt>
          <cx:pt idx="1463">DOc2315</cx:pt>
          <cx:pt idx="1464">DOc2316</cx:pt>
          <cx:pt idx="1465">DOc2317</cx:pt>
          <cx:pt idx="1466">DOc2318</cx:pt>
          <cx:pt idx="1467">DOc2319</cx:pt>
          <cx:pt idx="1468">DOc232</cx:pt>
          <cx:pt idx="1469">DOc2320</cx:pt>
          <cx:pt idx="1470">DOc2321</cx:pt>
          <cx:pt idx="1471">DOc2322</cx:pt>
          <cx:pt idx="1472">DOc2323</cx:pt>
          <cx:pt idx="1473">DOc2324</cx:pt>
          <cx:pt idx="1474">DOc2325</cx:pt>
          <cx:pt idx="1475">DOc2326</cx:pt>
          <cx:pt idx="1476">DOc2327</cx:pt>
          <cx:pt idx="1477">DOc2328</cx:pt>
          <cx:pt idx="1478">DOc2329</cx:pt>
          <cx:pt idx="1479">DOc233</cx:pt>
          <cx:pt idx="1480">DOc2330</cx:pt>
          <cx:pt idx="1481">DOc2331</cx:pt>
          <cx:pt idx="1482">DOc2332</cx:pt>
          <cx:pt idx="1483">DOc2333</cx:pt>
          <cx:pt idx="1484">DOc2334</cx:pt>
          <cx:pt idx="1485">DOc2335</cx:pt>
          <cx:pt idx="1486">DOc2336</cx:pt>
          <cx:pt idx="1487">DOc2337</cx:pt>
          <cx:pt idx="1488">DOc2338</cx:pt>
          <cx:pt idx="1489">DOc2339</cx:pt>
          <cx:pt idx="1490">DOc234</cx:pt>
          <cx:pt idx="1491">DOc2340</cx:pt>
          <cx:pt idx="1492">DOc2341</cx:pt>
          <cx:pt idx="1493">DOc2342</cx:pt>
          <cx:pt idx="1494">DOc2343</cx:pt>
          <cx:pt idx="1495">DOc2344</cx:pt>
          <cx:pt idx="1496">DOc2345</cx:pt>
          <cx:pt idx="1497">DOc2346</cx:pt>
          <cx:pt idx="1498">DOc2347</cx:pt>
          <cx:pt idx="1499">DOc2348</cx:pt>
          <cx:pt idx="1500">DOc2349</cx:pt>
          <cx:pt idx="1501">DOc235</cx:pt>
          <cx:pt idx="1502">DOc2350</cx:pt>
          <cx:pt idx="1503">DOc2351</cx:pt>
          <cx:pt idx="1504">DOc2352</cx:pt>
          <cx:pt idx="1505">DOc2353</cx:pt>
          <cx:pt idx="1506">DOc2354</cx:pt>
          <cx:pt idx="1507">DOc2355</cx:pt>
          <cx:pt idx="1508">DOc2356</cx:pt>
          <cx:pt idx="1509">DOc2357</cx:pt>
          <cx:pt idx="1510">DOc2358</cx:pt>
          <cx:pt idx="1511">DOc2359</cx:pt>
          <cx:pt idx="1512">DOc236</cx:pt>
          <cx:pt idx="1513">DOc2360</cx:pt>
          <cx:pt idx="1514">DOc2361</cx:pt>
          <cx:pt idx="1515">DOc2362</cx:pt>
          <cx:pt idx="1516">DOc2363</cx:pt>
          <cx:pt idx="1517">DOc2364</cx:pt>
          <cx:pt idx="1518">DOc2365</cx:pt>
          <cx:pt idx="1519">DOc2366</cx:pt>
          <cx:pt idx="1520">DOc2367</cx:pt>
          <cx:pt idx="1521">DOc2368</cx:pt>
          <cx:pt idx="1522">DOc2369</cx:pt>
          <cx:pt idx="1523">DOc237</cx:pt>
          <cx:pt idx="1524">DOc2370</cx:pt>
          <cx:pt idx="1525">DOc2371</cx:pt>
          <cx:pt idx="1526">DOc2372</cx:pt>
          <cx:pt idx="1527">DOc2373</cx:pt>
          <cx:pt idx="1528">DOc2374</cx:pt>
          <cx:pt idx="1529">DOc2375</cx:pt>
          <cx:pt idx="1530">DOc2376</cx:pt>
          <cx:pt idx="1531">DOc2377</cx:pt>
          <cx:pt idx="1532">DOc2378</cx:pt>
          <cx:pt idx="1533">DOc2379</cx:pt>
          <cx:pt idx="1534">DOc238</cx:pt>
          <cx:pt idx="1535">DOc2380</cx:pt>
          <cx:pt idx="1536">DOc2381</cx:pt>
          <cx:pt idx="1537">DOc2382</cx:pt>
          <cx:pt idx="1538">DOc2383</cx:pt>
          <cx:pt idx="1539">DOc2384</cx:pt>
          <cx:pt idx="1540">DOc2385</cx:pt>
          <cx:pt idx="1541">DOc2386</cx:pt>
          <cx:pt idx="1542">DOc2387</cx:pt>
          <cx:pt idx="1543">DOc2388</cx:pt>
          <cx:pt idx="1544">DOc2389</cx:pt>
          <cx:pt idx="1545">DOc239</cx:pt>
          <cx:pt idx="1546">DOc2390</cx:pt>
          <cx:pt idx="1547">DOc2391</cx:pt>
          <cx:pt idx="1548">DOc2392</cx:pt>
          <cx:pt idx="1549">DOc2393</cx:pt>
          <cx:pt idx="1550">DOc2394</cx:pt>
          <cx:pt idx="1551">DOc2395</cx:pt>
          <cx:pt idx="1552">DOc2396</cx:pt>
          <cx:pt idx="1553">DOc2397</cx:pt>
          <cx:pt idx="1554">DOc2398</cx:pt>
          <cx:pt idx="1555">DOc2399</cx:pt>
          <cx:pt idx="1556">DOc24</cx:pt>
          <cx:pt idx="1557">DOc240</cx:pt>
          <cx:pt idx="1558">DOc2400</cx:pt>
          <cx:pt idx="1559">DOc2401</cx:pt>
          <cx:pt idx="1560">DOc2402</cx:pt>
          <cx:pt idx="1561">DOc2403</cx:pt>
          <cx:pt idx="1562">DOc2404</cx:pt>
          <cx:pt idx="1563">DOc2405</cx:pt>
          <cx:pt idx="1564">DOc2406</cx:pt>
          <cx:pt idx="1565">DOc2407</cx:pt>
          <cx:pt idx="1566">DOc2408</cx:pt>
          <cx:pt idx="1567">DOc2409</cx:pt>
          <cx:pt idx="1568">DOc241</cx:pt>
          <cx:pt idx="1569">DOc2410</cx:pt>
          <cx:pt idx="1570">DOc2411</cx:pt>
          <cx:pt idx="1571">DOc2412</cx:pt>
          <cx:pt idx="1572">DOc2413</cx:pt>
          <cx:pt idx="1573">DOc2414</cx:pt>
          <cx:pt idx="1574">DOc2415</cx:pt>
          <cx:pt idx="1575">DOc2416</cx:pt>
          <cx:pt idx="1576">DOc2417</cx:pt>
          <cx:pt idx="1577">DOc2418</cx:pt>
          <cx:pt idx="1578">DOc2419</cx:pt>
          <cx:pt idx="1579">DOc242</cx:pt>
          <cx:pt idx="1580">DOc2420</cx:pt>
          <cx:pt idx="1581">DOc2421</cx:pt>
          <cx:pt idx="1582">DOc2422</cx:pt>
          <cx:pt idx="1583">DOc2423</cx:pt>
          <cx:pt idx="1584">DOc2424</cx:pt>
          <cx:pt idx="1585">DOc2425</cx:pt>
          <cx:pt idx="1586">DOc2426</cx:pt>
          <cx:pt idx="1587">DOc2427</cx:pt>
          <cx:pt idx="1588">DOc2428</cx:pt>
          <cx:pt idx="1589">DOc2429</cx:pt>
          <cx:pt idx="1590">DOc243</cx:pt>
          <cx:pt idx="1591">DOc2430</cx:pt>
          <cx:pt idx="1592">DOc2431</cx:pt>
          <cx:pt idx="1593">DOc2432</cx:pt>
          <cx:pt idx="1594">DOc2433</cx:pt>
          <cx:pt idx="1595">DOc2434</cx:pt>
          <cx:pt idx="1596">DOc2435</cx:pt>
          <cx:pt idx="1597">DOc2436</cx:pt>
          <cx:pt idx="1598">DOc2437</cx:pt>
          <cx:pt idx="1599">DOc2438</cx:pt>
          <cx:pt idx="1600">DOc2439</cx:pt>
          <cx:pt idx="1601">DOc244</cx:pt>
          <cx:pt idx="1602">DOc2440</cx:pt>
          <cx:pt idx="1603">DOc2441</cx:pt>
          <cx:pt idx="1604">DOc2442</cx:pt>
          <cx:pt idx="1605">DOc2443</cx:pt>
          <cx:pt idx="1606">DOc2444</cx:pt>
          <cx:pt idx="1607">DOc2445</cx:pt>
          <cx:pt idx="1608">DOc2446</cx:pt>
          <cx:pt idx="1609">DOc2447</cx:pt>
          <cx:pt idx="1610">DOc2448</cx:pt>
          <cx:pt idx="1611">DOc2449</cx:pt>
          <cx:pt idx="1612">DOc245</cx:pt>
          <cx:pt idx="1613">DOc2450</cx:pt>
          <cx:pt idx="1614">DOc2451</cx:pt>
          <cx:pt idx="1615">DOc2452</cx:pt>
          <cx:pt idx="1616">DOc2453</cx:pt>
          <cx:pt idx="1617">DOc2454</cx:pt>
          <cx:pt idx="1618">DOc2455</cx:pt>
          <cx:pt idx="1619">DOc2456</cx:pt>
          <cx:pt idx="1620">DOc2457</cx:pt>
          <cx:pt idx="1621">DOc2458</cx:pt>
          <cx:pt idx="1622">DOc2459</cx:pt>
          <cx:pt idx="1623">DOc246</cx:pt>
          <cx:pt idx="1624">DOc2460</cx:pt>
          <cx:pt idx="1625">DOc2461</cx:pt>
          <cx:pt idx="1626">DOc2462</cx:pt>
          <cx:pt idx="1627">DOc2463</cx:pt>
          <cx:pt idx="1628">DOc2464</cx:pt>
          <cx:pt idx="1629">DOc2465</cx:pt>
          <cx:pt idx="1630">DOc2466</cx:pt>
          <cx:pt idx="1631">DOc2467</cx:pt>
          <cx:pt idx="1632">DOc2468</cx:pt>
          <cx:pt idx="1633">DOc2469</cx:pt>
          <cx:pt idx="1634">DOc247</cx:pt>
          <cx:pt idx="1635">DOc2470</cx:pt>
          <cx:pt idx="1636">DOc2471</cx:pt>
          <cx:pt idx="1637">DOc2472</cx:pt>
          <cx:pt idx="1638">DOc2473</cx:pt>
          <cx:pt idx="1639">DOc2474</cx:pt>
          <cx:pt idx="1640">DOc2475</cx:pt>
          <cx:pt idx="1641">DOc2476</cx:pt>
          <cx:pt idx="1642">DOc2477</cx:pt>
          <cx:pt idx="1643">DOc2478</cx:pt>
          <cx:pt idx="1644">DOc2479</cx:pt>
          <cx:pt idx="1645">DOc248</cx:pt>
          <cx:pt idx="1646">DOc2480</cx:pt>
          <cx:pt idx="1647">DOc2481</cx:pt>
          <cx:pt idx="1648">DOc2482</cx:pt>
          <cx:pt idx="1649">DOc2483</cx:pt>
          <cx:pt idx="1650">DOc2484</cx:pt>
          <cx:pt idx="1651">DOc2485</cx:pt>
          <cx:pt idx="1652">DOc2486</cx:pt>
          <cx:pt idx="1653">DOc2487</cx:pt>
          <cx:pt idx="1654">DOc2488</cx:pt>
          <cx:pt idx="1655">DOc2489</cx:pt>
          <cx:pt idx="1656">DOc249</cx:pt>
          <cx:pt idx="1657">DOc2490</cx:pt>
          <cx:pt idx="1658">DOc2491</cx:pt>
          <cx:pt idx="1659">DOc2492</cx:pt>
          <cx:pt idx="1660">DOc2493</cx:pt>
          <cx:pt idx="1661">DOc2494</cx:pt>
          <cx:pt idx="1662">DOc2495</cx:pt>
          <cx:pt idx="1663">DOc2496</cx:pt>
          <cx:pt idx="1664">DOc2497</cx:pt>
          <cx:pt idx="1665">DOc2498</cx:pt>
          <cx:pt idx="1666">DOc2499</cx:pt>
          <cx:pt idx="1667">DOc25</cx:pt>
          <cx:pt idx="1668">DOc250</cx:pt>
          <cx:pt idx="1669">DOc2500</cx:pt>
          <cx:pt idx="1670">DOc2501</cx:pt>
          <cx:pt idx="1671">DOc2502</cx:pt>
          <cx:pt idx="1672">DOc2503</cx:pt>
          <cx:pt idx="1673">DOc2504</cx:pt>
          <cx:pt idx="1674">DOc2505</cx:pt>
          <cx:pt idx="1675">DOc2506</cx:pt>
          <cx:pt idx="1676">DOc2507</cx:pt>
          <cx:pt idx="1677">DOc2508</cx:pt>
          <cx:pt idx="1678">DOc2509</cx:pt>
          <cx:pt idx="1679">DOc251</cx:pt>
          <cx:pt idx="1680">DOc2510</cx:pt>
          <cx:pt idx="1681">DOc2511</cx:pt>
          <cx:pt idx="1682">DOc2512</cx:pt>
          <cx:pt idx="1683">DOc2513</cx:pt>
          <cx:pt idx="1684">DOc2514</cx:pt>
          <cx:pt idx="1685">DOc2515</cx:pt>
          <cx:pt idx="1686">DOc2516</cx:pt>
          <cx:pt idx="1687">DOc2517</cx:pt>
          <cx:pt idx="1688">DOc2518</cx:pt>
          <cx:pt idx="1689">DOc2519</cx:pt>
          <cx:pt idx="1690">DOc252</cx:pt>
          <cx:pt idx="1691">DOc2520</cx:pt>
          <cx:pt idx="1692">DOc2521</cx:pt>
          <cx:pt idx="1693">DOc2522</cx:pt>
          <cx:pt idx="1694">DOc253</cx:pt>
          <cx:pt idx="1695">DOc254</cx:pt>
          <cx:pt idx="1696">DOc255</cx:pt>
          <cx:pt idx="1697">DOc256</cx:pt>
          <cx:pt idx="1698">DOc257</cx:pt>
          <cx:pt idx="1699">DOc258</cx:pt>
          <cx:pt idx="1700">DOc259</cx:pt>
          <cx:pt idx="1701">DOc26</cx:pt>
          <cx:pt idx="1702">DOc260</cx:pt>
          <cx:pt idx="1703">DOc261</cx:pt>
          <cx:pt idx="1704">DOc262</cx:pt>
          <cx:pt idx="1705">DOc263</cx:pt>
          <cx:pt idx="1706">DOc264</cx:pt>
          <cx:pt idx="1707">DOc265</cx:pt>
          <cx:pt idx="1708">DOc266</cx:pt>
          <cx:pt idx="1709">DOc267</cx:pt>
          <cx:pt idx="1710">DOc268</cx:pt>
          <cx:pt idx="1711">DOc269</cx:pt>
          <cx:pt idx="1712">DOc27</cx:pt>
          <cx:pt idx="1713">DOc270</cx:pt>
          <cx:pt idx="1714">DOc271</cx:pt>
          <cx:pt idx="1715">DOc272</cx:pt>
          <cx:pt idx="1716">DOc273</cx:pt>
          <cx:pt idx="1717">DOc274</cx:pt>
          <cx:pt idx="1718">DOc275</cx:pt>
          <cx:pt idx="1719">DOc276</cx:pt>
          <cx:pt idx="1720">DOc277</cx:pt>
          <cx:pt idx="1721">DOc278</cx:pt>
          <cx:pt idx="1722">DOc279</cx:pt>
          <cx:pt idx="1723">DOc28</cx:pt>
          <cx:pt idx="1724">DOc280</cx:pt>
          <cx:pt idx="1725">DOc281</cx:pt>
          <cx:pt idx="1726">DOc282</cx:pt>
          <cx:pt idx="1727">DOc283</cx:pt>
          <cx:pt idx="1728">DOc284</cx:pt>
          <cx:pt idx="1729">DOc285</cx:pt>
          <cx:pt idx="1730">DOc286</cx:pt>
          <cx:pt idx="1731">DOc287</cx:pt>
          <cx:pt idx="1732">DOc288</cx:pt>
          <cx:pt idx="1733">DOc289</cx:pt>
          <cx:pt idx="1734">DOc29</cx:pt>
          <cx:pt idx="1735">DOc290</cx:pt>
          <cx:pt idx="1736">DOc291</cx:pt>
          <cx:pt idx="1737">DOc292</cx:pt>
          <cx:pt idx="1738">DOc293</cx:pt>
          <cx:pt idx="1739">DOc294</cx:pt>
          <cx:pt idx="1740">DOc295</cx:pt>
          <cx:pt idx="1741">DOc296</cx:pt>
          <cx:pt idx="1742">DOc297</cx:pt>
          <cx:pt idx="1743">DOc298</cx:pt>
          <cx:pt idx="1744">DOc299</cx:pt>
          <cx:pt idx="1745">DOc3</cx:pt>
          <cx:pt idx="1746">DOc30</cx:pt>
          <cx:pt idx="1747">DOc300</cx:pt>
          <cx:pt idx="1748">DOc301</cx:pt>
          <cx:pt idx="1749">DOc302</cx:pt>
          <cx:pt idx="1750">DOc303</cx:pt>
          <cx:pt idx="1751">DOc304</cx:pt>
          <cx:pt idx="1752">DOc305</cx:pt>
          <cx:pt idx="1753">DOc306</cx:pt>
          <cx:pt idx="1754">DOc307</cx:pt>
          <cx:pt idx="1755">DOc308</cx:pt>
          <cx:pt idx="1756">DOc309</cx:pt>
          <cx:pt idx="1757">DOc31</cx:pt>
          <cx:pt idx="1758">DOc310</cx:pt>
          <cx:pt idx="1759">DOc311</cx:pt>
          <cx:pt idx="1760">DOc312</cx:pt>
          <cx:pt idx="1761">DOc313</cx:pt>
          <cx:pt idx="1762">DOc314</cx:pt>
          <cx:pt idx="1763">DOc315</cx:pt>
          <cx:pt idx="1764">DOc316</cx:pt>
          <cx:pt idx="1765">DOc317</cx:pt>
          <cx:pt idx="1766">DOc318</cx:pt>
          <cx:pt idx="1767">DOc319</cx:pt>
          <cx:pt idx="1768">DOc32</cx:pt>
          <cx:pt idx="1769">DOc320</cx:pt>
          <cx:pt idx="1770">DOc321</cx:pt>
          <cx:pt idx="1771">DOc322</cx:pt>
          <cx:pt idx="1772">DOc323</cx:pt>
          <cx:pt idx="1773">DOc324</cx:pt>
          <cx:pt idx="1774">DOc325</cx:pt>
          <cx:pt idx="1775">DOc326</cx:pt>
          <cx:pt idx="1776">DOc327</cx:pt>
          <cx:pt idx="1777">DOc328</cx:pt>
          <cx:pt idx="1778">DOc329</cx:pt>
          <cx:pt idx="1779">DOc33</cx:pt>
          <cx:pt idx="1780">DOc330</cx:pt>
          <cx:pt idx="1781">DOc331</cx:pt>
          <cx:pt idx="1782">DOc332</cx:pt>
          <cx:pt idx="1783">DOc333</cx:pt>
          <cx:pt idx="1784">DOc334</cx:pt>
          <cx:pt idx="1785">DOc335</cx:pt>
          <cx:pt idx="1786">DOc336</cx:pt>
          <cx:pt idx="1787">DOc337</cx:pt>
          <cx:pt idx="1788">DOc338</cx:pt>
          <cx:pt idx="1789">DOc339</cx:pt>
          <cx:pt idx="1790">DOc34</cx:pt>
          <cx:pt idx="1791">DOc340</cx:pt>
          <cx:pt idx="1792">DOc341</cx:pt>
          <cx:pt idx="1793">DOc342</cx:pt>
          <cx:pt idx="1794">DOc343</cx:pt>
          <cx:pt idx="1795">DOc344</cx:pt>
          <cx:pt idx="1796">DOc345</cx:pt>
          <cx:pt idx="1797">DOc346</cx:pt>
          <cx:pt idx="1798">DOc347</cx:pt>
          <cx:pt idx="1799">DOc348</cx:pt>
          <cx:pt idx="1800">DOc349</cx:pt>
          <cx:pt idx="1801">DOc35</cx:pt>
          <cx:pt idx="1802">DOc350</cx:pt>
          <cx:pt idx="1803">DOc351</cx:pt>
          <cx:pt idx="1804">DOc352</cx:pt>
          <cx:pt idx="1805">DOc353</cx:pt>
          <cx:pt idx="1806">DOc354</cx:pt>
          <cx:pt idx="1807">DOc355</cx:pt>
          <cx:pt idx="1808">DOc356</cx:pt>
          <cx:pt idx="1809">DOc357</cx:pt>
          <cx:pt idx="1810">DOc358</cx:pt>
          <cx:pt idx="1811">DOc359</cx:pt>
          <cx:pt idx="1812">DOc36</cx:pt>
          <cx:pt idx="1813">DOc360</cx:pt>
          <cx:pt idx="1814">DOc361</cx:pt>
          <cx:pt idx="1815">DOc362</cx:pt>
          <cx:pt idx="1816">DOc363</cx:pt>
          <cx:pt idx="1817">DOc364</cx:pt>
          <cx:pt idx="1818">DOc365</cx:pt>
          <cx:pt idx="1819">DOc366</cx:pt>
          <cx:pt idx="1820">DOc367</cx:pt>
          <cx:pt idx="1821">DOc368</cx:pt>
          <cx:pt idx="1822">DOc369</cx:pt>
          <cx:pt idx="1823">DOc37</cx:pt>
          <cx:pt idx="1824">DOc370</cx:pt>
          <cx:pt idx="1825">DOc371</cx:pt>
          <cx:pt idx="1826">DOc372</cx:pt>
          <cx:pt idx="1827">DOc373</cx:pt>
          <cx:pt idx="1828">DOc374</cx:pt>
          <cx:pt idx="1829">DOc375</cx:pt>
          <cx:pt idx="1830">DOc376</cx:pt>
          <cx:pt idx="1831">DOc377</cx:pt>
          <cx:pt idx="1832">DOc378</cx:pt>
          <cx:pt idx="1833">DOc379</cx:pt>
          <cx:pt idx="1834">DOc38</cx:pt>
          <cx:pt idx="1835">DOc380</cx:pt>
          <cx:pt idx="1836">DOc381</cx:pt>
          <cx:pt idx="1837">DOc382</cx:pt>
          <cx:pt idx="1838">DOc383</cx:pt>
          <cx:pt idx="1839">DOc384</cx:pt>
          <cx:pt idx="1840">DOc385</cx:pt>
          <cx:pt idx="1841">DOc386</cx:pt>
          <cx:pt idx="1842">DOc387</cx:pt>
          <cx:pt idx="1843">DOc388</cx:pt>
          <cx:pt idx="1844">DOc389</cx:pt>
          <cx:pt idx="1845">DOc39</cx:pt>
          <cx:pt idx="1846">DOc390</cx:pt>
          <cx:pt idx="1847">DOc391</cx:pt>
          <cx:pt idx="1848">DOc392</cx:pt>
          <cx:pt idx="1849">DOc393</cx:pt>
          <cx:pt idx="1850">DOc394</cx:pt>
          <cx:pt idx="1851">DOc395</cx:pt>
          <cx:pt idx="1852">DOc396</cx:pt>
          <cx:pt idx="1853">DOc397</cx:pt>
          <cx:pt idx="1854">DOc398</cx:pt>
          <cx:pt idx="1855">DOc399</cx:pt>
          <cx:pt idx="1856">DOc4</cx:pt>
          <cx:pt idx="1857">DOc40</cx:pt>
          <cx:pt idx="1858">DOc400</cx:pt>
          <cx:pt idx="1859">DOc401</cx:pt>
          <cx:pt idx="1860">DOc402</cx:pt>
          <cx:pt idx="1861">DOc403</cx:pt>
          <cx:pt idx="1862">DOc404</cx:pt>
          <cx:pt idx="1863">DOc405</cx:pt>
          <cx:pt idx="1864">DOc406</cx:pt>
          <cx:pt idx="1865">DOc407</cx:pt>
          <cx:pt idx="1866">DOc408</cx:pt>
          <cx:pt idx="1867">DOc409</cx:pt>
          <cx:pt idx="1868">DOc41</cx:pt>
          <cx:pt idx="1869">DOc410</cx:pt>
          <cx:pt idx="1870">DOc411</cx:pt>
          <cx:pt idx="1871">DOc412</cx:pt>
          <cx:pt idx="1872">DOc413</cx:pt>
          <cx:pt idx="1873">DOc414</cx:pt>
          <cx:pt idx="1874">DOc415</cx:pt>
          <cx:pt idx="1875">DOc416</cx:pt>
          <cx:pt idx="1876">DOc417</cx:pt>
          <cx:pt idx="1877">DOc418</cx:pt>
          <cx:pt idx="1878">DOc419</cx:pt>
          <cx:pt idx="1879">DOc42</cx:pt>
          <cx:pt idx="1880">DOc420</cx:pt>
          <cx:pt idx="1881">DOc421</cx:pt>
          <cx:pt idx="1882">DOc422</cx:pt>
          <cx:pt idx="1883">DOc423</cx:pt>
          <cx:pt idx="1884">DOc424</cx:pt>
          <cx:pt idx="1885">DOc425</cx:pt>
          <cx:pt idx="1886">DOc426</cx:pt>
          <cx:pt idx="1887">DOc427</cx:pt>
          <cx:pt idx="1888">DOc428</cx:pt>
          <cx:pt idx="1889">DOc429</cx:pt>
          <cx:pt idx="1890">DOc43</cx:pt>
          <cx:pt idx="1891">DOc430</cx:pt>
          <cx:pt idx="1892">DOc431</cx:pt>
          <cx:pt idx="1893">DOc432</cx:pt>
          <cx:pt idx="1894">DOc433</cx:pt>
          <cx:pt idx="1895">DOc434</cx:pt>
          <cx:pt idx="1896">DOc435</cx:pt>
          <cx:pt idx="1897">DOc436</cx:pt>
          <cx:pt idx="1898">DOc437</cx:pt>
          <cx:pt idx="1899">DOc438</cx:pt>
          <cx:pt idx="1900">DOc439</cx:pt>
          <cx:pt idx="1901">DOc44</cx:pt>
          <cx:pt idx="1902">DOc440</cx:pt>
          <cx:pt idx="1903">DOc441</cx:pt>
          <cx:pt idx="1904">DOc442</cx:pt>
          <cx:pt idx="1905">DOc443</cx:pt>
          <cx:pt idx="1906">DOc444</cx:pt>
          <cx:pt idx="1907">DOc445</cx:pt>
          <cx:pt idx="1908">DOc446</cx:pt>
          <cx:pt idx="1909">DOc447</cx:pt>
          <cx:pt idx="1910">DOc448</cx:pt>
          <cx:pt idx="1911">DOc449</cx:pt>
          <cx:pt idx="1912">DOc45</cx:pt>
          <cx:pt idx="1913">DOc450</cx:pt>
          <cx:pt idx="1914">DOc451</cx:pt>
          <cx:pt idx="1915">DOc452</cx:pt>
          <cx:pt idx="1916">DOc453</cx:pt>
          <cx:pt idx="1917">DOc454</cx:pt>
          <cx:pt idx="1918">DOc455</cx:pt>
          <cx:pt idx="1919">DOc456</cx:pt>
          <cx:pt idx="1920">DOc457</cx:pt>
          <cx:pt idx="1921">DOc458</cx:pt>
          <cx:pt idx="1922">DOc459</cx:pt>
          <cx:pt idx="1923">DOc46</cx:pt>
          <cx:pt idx="1924">DOc460</cx:pt>
          <cx:pt idx="1925">DOc461</cx:pt>
          <cx:pt idx="1926">DOc462</cx:pt>
          <cx:pt idx="1927">DOc463</cx:pt>
          <cx:pt idx="1928">DOc464</cx:pt>
          <cx:pt idx="1929">DOc465</cx:pt>
          <cx:pt idx="1930">DOc466</cx:pt>
          <cx:pt idx="1931">DOc467</cx:pt>
          <cx:pt idx="1932">DOc468</cx:pt>
          <cx:pt idx="1933">DOc469</cx:pt>
          <cx:pt idx="1934">DOc47</cx:pt>
          <cx:pt idx="1935">DOc470</cx:pt>
          <cx:pt idx="1936">DOc471</cx:pt>
          <cx:pt idx="1937">DOc472</cx:pt>
          <cx:pt idx="1938">DOc473</cx:pt>
          <cx:pt idx="1939">DOc474</cx:pt>
          <cx:pt idx="1940">DOc475</cx:pt>
          <cx:pt idx="1941">DOc476</cx:pt>
          <cx:pt idx="1942">DOc477</cx:pt>
          <cx:pt idx="1943">DOc478</cx:pt>
          <cx:pt idx="1944">DOc479</cx:pt>
          <cx:pt idx="1945">DOc48</cx:pt>
          <cx:pt idx="1946">DOc480</cx:pt>
          <cx:pt idx="1947">DOc481</cx:pt>
          <cx:pt idx="1948">DOc482</cx:pt>
          <cx:pt idx="1949">DOc483</cx:pt>
          <cx:pt idx="1950">DOc484</cx:pt>
          <cx:pt idx="1951">DOc485</cx:pt>
          <cx:pt idx="1952">DOc486</cx:pt>
          <cx:pt idx="1953">DOc487</cx:pt>
          <cx:pt idx="1954">DOc488</cx:pt>
          <cx:pt idx="1955">DOc489</cx:pt>
          <cx:pt idx="1956">DOc49</cx:pt>
          <cx:pt idx="1957">DOc490</cx:pt>
          <cx:pt idx="1958">DOc491</cx:pt>
          <cx:pt idx="1959">DOc492</cx:pt>
          <cx:pt idx="1960">DOc493</cx:pt>
          <cx:pt idx="1961">DOc494</cx:pt>
          <cx:pt idx="1962">DOc495</cx:pt>
          <cx:pt idx="1963">DOc496</cx:pt>
          <cx:pt idx="1964">DOc497</cx:pt>
          <cx:pt idx="1965">DOc498</cx:pt>
          <cx:pt idx="1966">DOc499</cx:pt>
          <cx:pt idx="1967">DOc5</cx:pt>
          <cx:pt idx="1968">DOc50</cx:pt>
          <cx:pt idx="1969">DOc500</cx:pt>
          <cx:pt idx="1970">DOc501</cx:pt>
          <cx:pt idx="1971">DOc502</cx:pt>
          <cx:pt idx="1972">DOc503</cx:pt>
          <cx:pt idx="1973">DOc504</cx:pt>
          <cx:pt idx="1974">DOc505</cx:pt>
          <cx:pt idx="1975">DOc506</cx:pt>
          <cx:pt idx="1976">DOc507</cx:pt>
          <cx:pt idx="1977">DOc508</cx:pt>
          <cx:pt idx="1978">DOc509</cx:pt>
          <cx:pt idx="1979">DOc51</cx:pt>
          <cx:pt idx="1980">DOc510</cx:pt>
          <cx:pt idx="1981">DOc511</cx:pt>
          <cx:pt idx="1982">DOc512</cx:pt>
          <cx:pt idx="1983">DOc513</cx:pt>
          <cx:pt idx="1984">DOc514</cx:pt>
          <cx:pt idx="1985">DOc515</cx:pt>
          <cx:pt idx="1986">DOc516</cx:pt>
          <cx:pt idx="1987">DOc517</cx:pt>
          <cx:pt idx="1988">DOc518</cx:pt>
          <cx:pt idx="1989">DOc519</cx:pt>
          <cx:pt idx="1990">DOc52</cx:pt>
          <cx:pt idx="1991">DOc520</cx:pt>
          <cx:pt idx="1992">DOc521</cx:pt>
          <cx:pt idx="1993">DOc522</cx:pt>
          <cx:pt idx="1994">DOc523</cx:pt>
          <cx:pt idx="1995">DOc524</cx:pt>
          <cx:pt idx="1996">DOc525</cx:pt>
          <cx:pt idx="1997">DOc526</cx:pt>
          <cx:pt idx="1998">DOc527</cx:pt>
          <cx:pt idx="1999">DOc528</cx:pt>
          <cx:pt idx="2000">DOc529</cx:pt>
          <cx:pt idx="2001">DOc53</cx:pt>
          <cx:pt idx="2002">DOc530</cx:pt>
          <cx:pt idx="2003">DOc531</cx:pt>
          <cx:pt idx="2004">DOc532</cx:pt>
          <cx:pt idx="2005">DOc533</cx:pt>
          <cx:pt idx="2006">DOc534</cx:pt>
          <cx:pt idx="2007">DOc535</cx:pt>
          <cx:pt idx="2008">DOc536</cx:pt>
          <cx:pt idx="2009">DOc537</cx:pt>
          <cx:pt idx="2010">DOc538</cx:pt>
          <cx:pt idx="2011">DOc539</cx:pt>
          <cx:pt idx="2012">DOc54</cx:pt>
          <cx:pt idx="2013">DOc540</cx:pt>
          <cx:pt idx="2014">DOc541</cx:pt>
          <cx:pt idx="2015">DOc542</cx:pt>
          <cx:pt idx="2016">DOc543</cx:pt>
          <cx:pt idx="2017">DOc544</cx:pt>
          <cx:pt idx="2018">DOc545</cx:pt>
          <cx:pt idx="2019">DOc546</cx:pt>
          <cx:pt idx="2020">DOc547</cx:pt>
          <cx:pt idx="2021">DOc548</cx:pt>
          <cx:pt idx="2022">DOc549</cx:pt>
          <cx:pt idx="2023">DOc55</cx:pt>
          <cx:pt idx="2024">DOc550</cx:pt>
          <cx:pt idx="2025">DOc551</cx:pt>
          <cx:pt idx="2026">DOc552</cx:pt>
          <cx:pt idx="2027">DOc553</cx:pt>
          <cx:pt idx="2028">DOc554</cx:pt>
          <cx:pt idx="2029">DOc555</cx:pt>
          <cx:pt idx="2030">DOc556</cx:pt>
          <cx:pt idx="2031">DOc557</cx:pt>
          <cx:pt idx="2032">DOc558</cx:pt>
          <cx:pt idx="2033">DOc559</cx:pt>
          <cx:pt idx="2034">DOc56</cx:pt>
          <cx:pt idx="2035">DOc560</cx:pt>
          <cx:pt idx="2036">DOc561</cx:pt>
          <cx:pt idx="2037">DOc562</cx:pt>
          <cx:pt idx="2038">DOc563</cx:pt>
          <cx:pt idx="2039">DOc564</cx:pt>
          <cx:pt idx="2040">DOc565</cx:pt>
          <cx:pt idx="2041">DOc566</cx:pt>
          <cx:pt idx="2042">DOc567</cx:pt>
          <cx:pt idx="2043">DOc568</cx:pt>
          <cx:pt idx="2044">DOc569</cx:pt>
          <cx:pt idx="2045">DOc57</cx:pt>
          <cx:pt idx="2046">DOc570</cx:pt>
          <cx:pt idx="2047">DOc571</cx:pt>
          <cx:pt idx="2048">DOc572</cx:pt>
          <cx:pt idx="2049">DOc573</cx:pt>
          <cx:pt idx="2050">DOc574</cx:pt>
          <cx:pt idx="2051">DOc575</cx:pt>
          <cx:pt idx="2052">DOc576</cx:pt>
          <cx:pt idx="2053">DOc577</cx:pt>
          <cx:pt idx="2054">DOc578</cx:pt>
          <cx:pt idx="2055">DOc579</cx:pt>
          <cx:pt idx="2056">DOc58</cx:pt>
          <cx:pt idx="2057">DOc580</cx:pt>
          <cx:pt idx="2058">DOc581</cx:pt>
          <cx:pt idx="2059">DOc582</cx:pt>
          <cx:pt idx="2060">DOc583</cx:pt>
          <cx:pt idx="2061">DOc584</cx:pt>
          <cx:pt idx="2062">DOc585</cx:pt>
          <cx:pt idx="2063">DOc586</cx:pt>
          <cx:pt idx="2064">DOc587</cx:pt>
          <cx:pt idx="2065">DOc588</cx:pt>
          <cx:pt idx="2066">DOc589</cx:pt>
          <cx:pt idx="2067">DOc59</cx:pt>
          <cx:pt idx="2068">DOc590</cx:pt>
          <cx:pt idx="2069">DOc591</cx:pt>
          <cx:pt idx="2070">DOc592</cx:pt>
          <cx:pt idx="2071">DOc593</cx:pt>
          <cx:pt idx="2072">DOc594</cx:pt>
          <cx:pt idx="2073">DOc595</cx:pt>
          <cx:pt idx="2074">DOc596</cx:pt>
          <cx:pt idx="2075">DOc597</cx:pt>
          <cx:pt idx="2076">DOc598</cx:pt>
          <cx:pt idx="2077">DOc599</cx:pt>
          <cx:pt idx="2078">DOc6</cx:pt>
          <cx:pt idx="2079">DOc60</cx:pt>
          <cx:pt idx="2080">DOc600</cx:pt>
          <cx:pt idx="2081">DOc601</cx:pt>
          <cx:pt idx="2082">DOc602</cx:pt>
          <cx:pt idx="2083">DOc603</cx:pt>
          <cx:pt idx="2084">DOc604</cx:pt>
          <cx:pt idx="2085">DOc605</cx:pt>
          <cx:pt idx="2086">DOc606</cx:pt>
          <cx:pt idx="2087">DOc607</cx:pt>
          <cx:pt idx="2088">DOc608</cx:pt>
          <cx:pt idx="2089">DOc609</cx:pt>
          <cx:pt idx="2090">DOc61</cx:pt>
          <cx:pt idx="2091">DOc610</cx:pt>
          <cx:pt idx="2092">DOc611</cx:pt>
          <cx:pt idx="2093">DOc612</cx:pt>
          <cx:pt idx="2094">DOc613</cx:pt>
          <cx:pt idx="2095">DOc614</cx:pt>
          <cx:pt idx="2096">DOc615</cx:pt>
          <cx:pt idx="2097">DOc616</cx:pt>
          <cx:pt idx="2098">DOc617</cx:pt>
          <cx:pt idx="2099">DOc618</cx:pt>
          <cx:pt idx="2100">DOc619</cx:pt>
          <cx:pt idx="2101">DOc62</cx:pt>
          <cx:pt idx="2102">DOc620</cx:pt>
          <cx:pt idx="2103">DOc621</cx:pt>
          <cx:pt idx="2104">DOc622</cx:pt>
          <cx:pt idx="2105">DOc623</cx:pt>
          <cx:pt idx="2106">DOc624</cx:pt>
          <cx:pt idx="2107">DOc625</cx:pt>
          <cx:pt idx="2108">DOc626</cx:pt>
          <cx:pt idx="2109">DOc627</cx:pt>
          <cx:pt idx="2110">DOc628</cx:pt>
          <cx:pt idx="2111">DOc629</cx:pt>
          <cx:pt idx="2112">DOc63</cx:pt>
          <cx:pt idx="2113">DOc630</cx:pt>
          <cx:pt idx="2114">DOc631</cx:pt>
          <cx:pt idx="2115">DOc632</cx:pt>
          <cx:pt idx="2116">DOc633</cx:pt>
          <cx:pt idx="2117">DOc634</cx:pt>
          <cx:pt idx="2118">DOc635</cx:pt>
          <cx:pt idx="2119">DOc636</cx:pt>
          <cx:pt idx="2120">DOc637</cx:pt>
          <cx:pt idx="2121">DOc638</cx:pt>
          <cx:pt idx="2122">DOc639</cx:pt>
          <cx:pt idx="2123">DOc64</cx:pt>
          <cx:pt idx="2124">DOc640</cx:pt>
          <cx:pt idx="2125">DOc641</cx:pt>
          <cx:pt idx="2126">DOc642</cx:pt>
          <cx:pt idx="2127">DOc643</cx:pt>
          <cx:pt idx="2128">DOc644</cx:pt>
          <cx:pt idx="2129">DOc645</cx:pt>
          <cx:pt idx="2130">DOc646</cx:pt>
          <cx:pt idx="2131">DOc647</cx:pt>
          <cx:pt idx="2132">DOc648</cx:pt>
          <cx:pt idx="2133">DOc649</cx:pt>
          <cx:pt idx="2134">DOc65</cx:pt>
          <cx:pt idx="2135">DOc650</cx:pt>
          <cx:pt idx="2136">DOc651</cx:pt>
          <cx:pt idx="2137">DOc652</cx:pt>
          <cx:pt idx="2138">DOc653</cx:pt>
          <cx:pt idx="2139">DOc654</cx:pt>
          <cx:pt idx="2140">DOc655</cx:pt>
          <cx:pt idx="2141">DOc656</cx:pt>
          <cx:pt idx="2142">DOc657</cx:pt>
          <cx:pt idx="2143">DOc658</cx:pt>
          <cx:pt idx="2144">DOc659</cx:pt>
          <cx:pt idx="2145">DOc66</cx:pt>
          <cx:pt idx="2146">DOc660</cx:pt>
          <cx:pt idx="2147">DOc661</cx:pt>
          <cx:pt idx="2148">DOc662</cx:pt>
          <cx:pt idx="2149">DOc663</cx:pt>
          <cx:pt idx="2150">DOc664</cx:pt>
          <cx:pt idx="2151">DOc665</cx:pt>
          <cx:pt idx="2152">DOc666</cx:pt>
          <cx:pt idx="2153">DOc667</cx:pt>
          <cx:pt idx="2154">DOc668</cx:pt>
          <cx:pt idx="2155">DOc669</cx:pt>
          <cx:pt idx="2156">DOc67</cx:pt>
          <cx:pt idx="2157">DOc670</cx:pt>
          <cx:pt idx="2158">DOc671</cx:pt>
          <cx:pt idx="2159">DOc672</cx:pt>
          <cx:pt idx="2160">DOc673</cx:pt>
          <cx:pt idx="2161">DOc674</cx:pt>
          <cx:pt idx="2162">DOc675</cx:pt>
          <cx:pt idx="2163">DOc676</cx:pt>
          <cx:pt idx="2164">DOc677</cx:pt>
          <cx:pt idx="2165">DOc678</cx:pt>
          <cx:pt idx="2166">DOc679</cx:pt>
          <cx:pt idx="2167">DOc68</cx:pt>
          <cx:pt idx="2168">DOc680</cx:pt>
          <cx:pt idx="2169">DOc681</cx:pt>
          <cx:pt idx="2170">DOc682</cx:pt>
          <cx:pt idx="2171">DOc683</cx:pt>
          <cx:pt idx="2172">DOc684</cx:pt>
          <cx:pt idx="2173">DOc685</cx:pt>
          <cx:pt idx="2174">DOc686</cx:pt>
          <cx:pt idx="2175">DOc687</cx:pt>
          <cx:pt idx="2176">DOc688</cx:pt>
          <cx:pt idx="2177">DOc689</cx:pt>
          <cx:pt idx="2178">DOc69</cx:pt>
          <cx:pt idx="2179">DOc690</cx:pt>
          <cx:pt idx="2180">DOc691</cx:pt>
          <cx:pt idx="2181">DOc692</cx:pt>
          <cx:pt idx="2182">DOc693</cx:pt>
          <cx:pt idx="2183">DOc694</cx:pt>
          <cx:pt idx="2184">DOc695</cx:pt>
          <cx:pt idx="2185">DOc696</cx:pt>
          <cx:pt idx="2186">DOc697</cx:pt>
          <cx:pt idx="2187">DOc698</cx:pt>
          <cx:pt idx="2188">DOc699</cx:pt>
          <cx:pt idx="2189">DOc7</cx:pt>
          <cx:pt idx="2190">DOc70</cx:pt>
          <cx:pt idx="2191">DOc700</cx:pt>
          <cx:pt idx="2192">DOc701</cx:pt>
          <cx:pt idx="2193">DOc702</cx:pt>
          <cx:pt idx="2194">DOc703</cx:pt>
          <cx:pt idx="2195">DOc704</cx:pt>
          <cx:pt idx="2196">DOc705</cx:pt>
          <cx:pt idx="2197">DOc706</cx:pt>
          <cx:pt idx="2198">DOc707</cx:pt>
          <cx:pt idx="2199">DOc708</cx:pt>
          <cx:pt idx="2200">DOc709</cx:pt>
          <cx:pt idx="2201">DOc71</cx:pt>
          <cx:pt idx="2202">DOc710</cx:pt>
          <cx:pt idx="2203">DOc711</cx:pt>
          <cx:pt idx="2204">DOc712</cx:pt>
          <cx:pt idx="2205">DOc713</cx:pt>
          <cx:pt idx="2206">DOc714</cx:pt>
          <cx:pt idx="2207">DOc715</cx:pt>
          <cx:pt idx="2208">DOc716</cx:pt>
          <cx:pt idx="2209">DOc717</cx:pt>
          <cx:pt idx="2210">DOc718</cx:pt>
          <cx:pt idx="2211">DOc719</cx:pt>
          <cx:pt idx="2212">DOc72</cx:pt>
          <cx:pt idx="2213">DOc720</cx:pt>
          <cx:pt idx="2214">DOc721</cx:pt>
          <cx:pt idx="2215">DOc722</cx:pt>
          <cx:pt idx="2216">DOc723</cx:pt>
          <cx:pt idx="2217">DOc724</cx:pt>
          <cx:pt idx="2218">DOc725</cx:pt>
          <cx:pt idx="2219">DOc726</cx:pt>
          <cx:pt idx="2220">DOc727</cx:pt>
          <cx:pt idx="2221">DOc728</cx:pt>
          <cx:pt idx="2222">DOc729</cx:pt>
          <cx:pt idx="2223">DOc73</cx:pt>
          <cx:pt idx="2224">DOc730</cx:pt>
          <cx:pt idx="2225">DOc731</cx:pt>
          <cx:pt idx="2226">DOc732</cx:pt>
          <cx:pt idx="2227">DOc733</cx:pt>
          <cx:pt idx="2228">DOc734</cx:pt>
          <cx:pt idx="2229">DOc735</cx:pt>
          <cx:pt idx="2230">DOc736</cx:pt>
          <cx:pt idx="2231">DOc737</cx:pt>
          <cx:pt idx="2232">DOc738</cx:pt>
          <cx:pt idx="2233">DOc739</cx:pt>
          <cx:pt idx="2234">DOc74</cx:pt>
          <cx:pt idx="2235">DOc740</cx:pt>
          <cx:pt idx="2236">DOc741</cx:pt>
          <cx:pt idx="2237">DOc742</cx:pt>
          <cx:pt idx="2238">DOc743</cx:pt>
          <cx:pt idx="2239">DOc744</cx:pt>
          <cx:pt idx="2240">DOc745</cx:pt>
          <cx:pt idx="2241">DOc746</cx:pt>
          <cx:pt idx="2242">DOc747</cx:pt>
          <cx:pt idx="2243">DOc748</cx:pt>
          <cx:pt idx="2244">DOc749</cx:pt>
          <cx:pt idx="2245">DOc75</cx:pt>
          <cx:pt idx="2246">DOc750</cx:pt>
          <cx:pt idx="2247">DOc751</cx:pt>
          <cx:pt idx="2248">DOc752</cx:pt>
          <cx:pt idx="2249">DOc753</cx:pt>
          <cx:pt idx="2250">DOc754</cx:pt>
          <cx:pt idx="2251">DOc755</cx:pt>
          <cx:pt idx="2252">DOc756</cx:pt>
          <cx:pt idx="2253">DOc757</cx:pt>
          <cx:pt idx="2254">DOc758</cx:pt>
          <cx:pt idx="2255">DOc759</cx:pt>
          <cx:pt idx="2256">DOc76</cx:pt>
          <cx:pt idx="2257">DOc760</cx:pt>
          <cx:pt idx="2258">DOc761</cx:pt>
          <cx:pt idx="2259">DOc762</cx:pt>
          <cx:pt idx="2260">DOc763</cx:pt>
          <cx:pt idx="2261">DOc764</cx:pt>
          <cx:pt idx="2262">DOc765</cx:pt>
          <cx:pt idx="2263">DOc766</cx:pt>
          <cx:pt idx="2264">DOc767</cx:pt>
          <cx:pt idx="2265">DOc768</cx:pt>
          <cx:pt idx="2266">DOc769</cx:pt>
          <cx:pt idx="2267">DOc77</cx:pt>
          <cx:pt idx="2268">DOc770</cx:pt>
          <cx:pt idx="2269">DOc771</cx:pt>
          <cx:pt idx="2270">DOc772</cx:pt>
          <cx:pt idx="2271">DOc773</cx:pt>
          <cx:pt idx="2272">DOc774</cx:pt>
          <cx:pt idx="2273">DOc775</cx:pt>
          <cx:pt idx="2274">DOc776</cx:pt>
          <cx:pt idx="2275">DOc777</cx:pt>
          <cx:pt idx="2276">DOc778</cx:pt>
          <cx:pt idx="2277">DOc779</cx:pt>
          <cx:pt idx="2278">DOc78</cx:pt>
          <cx:pt idx="2279">DOc780</cx:pt>
          <cx:pt idx="2280">DOc781</cx:pt>
          <cx:pt idx="2281">DOc782</cx:pt>
          <cx:pt idx="2282">DOc783</cx:pt>
          <cx:pt idx="2283">DOc784</cx:pt>
          <cx:pt idx="2284">DOc785</cx:pt>
          <cx:pt idx="2285">DOc786</cx:pt>
          <cx:pt idx="2286">DOc787</cx:pt>
          <cx:pt idx="2287">DOc788</cx:pt>
          <cx:pt idx="2288">DOc789</cx:pt>
          <cx:pt idx="2289">DOc79</cx:pt>
          <cx:pt idx="2290">DOc790</cx:pt>
          <cx:pt idx="2291">DOc791</cx:pt>
          <cx:pt idx="2292">DOc792</cx:pt>
          <cx:pt idx="2293">DOc793</cx:pt>
          <cx:pt idx="2294">DOc794</cx:pt>
          <cx:pt idx="2295">DOc795</cx:pt>
          <cx:pt idx="2296">DOc796</cx:pt>
          <cx:pt idx="2297">DOc797</cx:pt>
          <cx:pt idx="2298">DOc798</cx:pt>
          <cx:pt idx="2299">DOc799</cx:pt>
          <cx:pt idx="2300">DOc8</cx:pt>
          <cx:pt idx="2301">DOc80</cx:pt>
          <cx:pt idx="2302">DOc800</cx:pt>
          <cx:pt idx="2303">DOc801</cx:pt>
          <cx:pt idx="2304">DOc802</cx:pt>
          <cx:pt idx="2305">DOc803</cx:pt>
          <cx:pt idx="2306">DOc804</cx:pt>
          <cx:pt idx="2307">DOc805</cx:pt>
          <cx:pt idx="2308">DOc806</cx:pt>
          <cx:pt idx="2309">DOc807</cx:pt>
          <cx:pt idx="2310">DOc808</cx:pt>
          <cx:pt idx="2311">DOc809</cx:pt>
          <cx:pt idx="2312">DOc81</cx:pt>
          <cx:pt idx="2313">DOc810</cx:pt>
          <cx:pt idx="2314">DOc811</cx:pt>
          <cx:pt idx="2315">DOc812</cx:pt>
          <cx:pt idx="2316">DOc813</cx:pt>
          <cx:pt idx="2317">DOc814</cx:pt>
          <cx:pt idx="2318">DOc815</cx:pt>
          <cx:pt idx="2319">DOc816</cx:pt>
          <cx:pt idx="2320">DOc817</cx:pt>
          <cx:pt idx="2321">DOc818</cx:pt>
          <cx:pt idx="2322">DOc819</cx:pt>
          <cx:pt idx="2323">DOc82</cx:pt>
          <cx:pt idx="2324">DOc820</cx:pt>
          <cx:pt idx="2325">DOc821</cx:pt>
          <cx:pt idx="2326">DOc822</cx:pt>
          <cx:pt idx="2327">DOc823</cx:pt>
          <cx:pt idx="2328">DOc824</cx:pt>
          <cx:pt idx="2329">DOc825</cx:pt>
          <cx:pt idx="2330">DOc826</cx:pt>
          <cx:pt idx="2331">DOc827</cx:pt>
          <cx:pt idx="2332">DOc828</cx:pt>
          <cx:pt idx="2333">DOc829</cx:pt>
          <cx:pt idx="2334">DOc83</cx:pt>
          <cx:pt idx="2335">DOc830</cx:pt>
          <cx:pt idx="2336">DOc831</cx:pt>
          <cx:pt idx="2337">DOc832</cx:pt>
          <cx:pt idx="2338">DOc833</cx:pt>
          <cx:pt idx="2339">DOc834</cx:pt>
          <cx:pt idx="2340">DOc835</cx:pt>
          <cx:pt idx="2341">DOc836</cx:pt>
          <cx:pt idx="2342">DOc837</cx:pt>
          <cx:pt idx="2343">DOc838</cx:pt>
          <cx:pt idx="2344">DOc839</cx:pt>
          <cx:pt idx="2345">DOc84</cx:pt>
          <cx:pt idx="2346">DOc840</cx:pt>
          <cx:pt idx="2347">DOc841</cx:pt>
          <cx:pt idx="2348">DOc842</cx:pt>
          <cx:pt idx="2349">DOc843</cx:pt>
          <cx:pt idx="2350">DOc844</cx:pt>
          <cx:pt idx="2351">DOc845</cx:pt>
          <cx:pt idx="2352">DOc846</cx:pt>
          <cx:pt idx="2353">DOc847</cx:pt>
          <cx:pt idx="2354">DOc848</cx:pt>
          <cx:pt idx="2355">DOc849</cx:pt>
          <cx:pt idx="2356">DOc85</cx:pt>
          <cx:pt idx="2357">DOc850</cx:pt>
          <cx:pt idx="2358">DOc851</cx:pt>
          <cx:pt idx="2359">DOc852</cx:pt>
          <cx:pt idx="2360">DOc853</cx:pt>
          <cx:pt idx="2361">DOc854</cx:pt>
          <cx:pt idx="2362">DOc855</cx:pt>
          <cx:pt idx="2363">DOc856</cx:pt>
          <cx:pt idx="2364">DOc857</cx:pt>
          <cx:pt idx="2365">DOc858</cx:pt>
          <cx:pt idx="2366">DOc859</cx:pt>
          <cx:pt idx="2367">DOc86</cx:pt>
          <cx:pt idx="2368">DOc860</cx:pt>
          <cx:pt idx="2369">DOc861</cx:pt>
          <cx:pt idx="2370">DOc862</cx:pt>
          <cx:pt idx="2371">DOc863</cx:pt>
          <cx:pt idx="2372">DOc864</cx:pt>
          <cx:pt idx="2373">DOc865</cx:pt>
          <cx:pt idx="2374">DOc866</cx:pt>
          <cx:pt idx="2375">DOc867</cx:pt>
          <cx:pt idx="2376">DOc868</cx:pt>
          <cx:pt idx="2377">DOc869</cx:pt>
          <cx:pt idx="2378">DOc87</cx:pt>
          <cx:pt idx="2379">DOc870</cx:pt>
          <cx:pt idx="2380">DOc871</cx:pt>
          <cx:pt idx="2381">DOc872</cx:pt>
          <cx:pt idx="2382">DOc873</cx:pt>
          <cx:pt idx="2383">DOc874</cx:pt>
          <cx:pt idx="2384">DOc875</cx:pt>
          <cx:pt idx="2385">DOc876</cx:pt>
          <cx:pt idx="2386">DOc877</cx:pt>
          <cx:pt idx="2387">DOc878</cx:pt>
          <cx:pt idx="2388">DOc879</cx:pt>
          <cx:pt idx="2389">DOc88</cx:pt>
          <cx:pt idx="2390">DOc880</cx:pt>
          <cx:pt idx="2391">DOc881</cx:pt>
          <cx:pt idx="2392">DOc882</cx:pt>
          <cx:pt idx="2393">DOc883</cx:pt>
          <cx:pt idx="2394">DOc884</cx:pt>
          <cx:pt idx="2395">DOc885</cx:pt>
          <cx:pt idx="2396">DOc886</cx:pt>
          <cx:pt idx="2397">DOc887</cx:pt>
          <cx:pt idx="2398">DOc888</cx:pt>
          <cx:pt idx="2399">DOc889</cx:pt>
          <cx:pt idx="2400">DOc89</cx:pt>
          <cx:pt idx="2401">DOc890</cx:pt>
          <cx:pt idx="2402">DOc891</cx:pt>
          <cx:pt idx="2403">DOc892</cx:pt>
          <cx:pt idx="2404">DOc893</cx:pt>
          <cx:pt idx="2405">DOc894</cx:pt>
          <cx:pt idx="2406">DOc895</cx:pt>
          <cx:pt idx="2407">DOc896</cx:pt>
          <cx:pt idx="2408">DOc897</cx:pt>
          <cx:pt idx="2409">DOc898</cx:pt>
          <cx:pt idx="2410">DOc899</cx:pt>
          <cx:pt idx="2411">DOc9</cx:pt>
          <cx:pt idx="2412">DOc90</cx:pt>
          <cx:pt idx="2413">DOc900</cx:pt>
          <cx:pt idx="2414">DOc901</cx:pt>
          <cx:pt idx="2415">DOc902</cx:pt>
          <cx:pt idx="2416">DOc903</cx:pt>
          <cx:pt idx="2417">DOc904</cx:pt>
          <cx:pt idx="2418">DOc905</cx:pt>
          <cx:pt idx="2419">DOc906</cx:pt>
          <cx:pt idx="2420">DOc907</cx:pt>
          <cx:pt idx="2421">DOc908</cx:pt>
          <cx:pt idx="2422">DOc909</cx:pt>
          <cx:pt idx="2423">DOc91</cx:pt>
          <cx:pt idx="2424">DOc910</cx:pt>
          <cx:pt idx="2425">DOc911</cx:pt>
          <cx:pt idx="2426">DOc912</cx:pt>
          <cx:pt idx="2427">DOc913</cx:pt>
          <cx:pt idx="2428">DOc914</cx:pt>
          <cx:pt idx="2429">DOc915</cx:pt>
          <cx:pt idx="2430">DOc916</cx:pt>
          <cx:pt idx="2431">DOc917</cx:pt>
          <cx:pt idx="2432">DOc918</cx:pt>
          <cx:pt idx="2433">DOc919</cx:pt>
          <cx:pt idx="2434">DOc92</cx:pt>
          <cx:pt idx="2435">DOc920</cx:pt>
          <cx:pt idx="2436">DOc921</cx:pt>
          <cx:pt idx="2437">DOc922</cx:pt>
          <cx:pt idx="2438">DOc923</cx:pt>
          <cx:pt idx="2439">DOc924</cx:pt>
          <cx:pt idx="2440">DOc925</cx:pt>
          <cx:pt idx="2441">DOc926</cx:pt>
          <cx:pt idx="2442">DOc927</cx:pt>
          <cx:pt idx="2443">DOc928</cx:pt>
          <cx:pt idx="2444">DOc929</cx:pt>
          <cx:pt idx="2445">DOc93</cx:pt>
          <cx:pt idx="2446">DOc930</cx:pt>
          <cx:pt idx="2447">DOc931</cx:pt>
          <cx:pt idx="2448">DOc932</cx:pt>
          <cx:pt idx="2449">DOc933</cx:pt>
          <cx:pt idx="2450">DOc934</cx:pt>
          <cx:pt idx="2451">DOc935</cx:pt>
          <cx:pt idx="2452">DOc936</cx:pt>
          <cx:pt idx="2453">DOc937</cx:pt>
          <cx:pt idx="2454">DOc938</cx:pt>
          <cx:pt idx="2455">DOc939</cx:pt>
          <cx:pt idx="2456">DOc94</cx:pt>
          <cx:pt idx="2457">DOc940</cx:pt>
          <cx:pt idx="2458">DOc941</cx:pt>
          <cx:pt idx="2459">DOc942</cx:pt>
          <cx:pt idx="2460">DOc943</cx:pt>
          <cx:pt idx="2461">DOc944</cx:pt>
          <cx:pt idx="2462">DOc945</cx:pt>
          <cx:pt idx="2463">DOc946</cx:pt>
          <cx:pt idx="2464">DOc947</cx:pt>
          <cx:pt idx="2465">DOc948</cx:pt>
          <cx:pt idx="2466">DOc949</cx:pt>
          <cx:pt idx="2467">DOc95</cx:pt>
          <cx:pt idx="2468">DOc950</cx:pt>
          <cx:pt idx="2469">DOc951</cx:pt>
          <cx:pt idx="2470">DOc952</cx:pt>
          <cx:pt idx="2471">DOc953</cx:pt>
          <cx:pt idx="2472">DOc954</cx:pt>
          <cx:pt idx="2473">DOc955</cx:pt>
          <cx:pt idx="2474">DOc956</cx:pt>
          <cx:pt idx="2475">DOc957</cx:pt>
          <cx:pt idx="2476">DOc958</cx:pt>
          <cx:pt idx="2477">DOc959</cx:pt>
          <cx:pt idx="2478">DOc96</cx:pt>
          <cx:pt idx="2479">DOc960</cx:pt>
          <cx:pt idx="2480">DOc961</cx:pt>
          <cx:pt idx="2481">DOc962</cx:pt>
          <cx:pt idx="2482">DOc963</cx:pt>
          <cx:pt idx="2483">DOc964</cx:pt>
          <cx:pt idx="2484">DOc965</cx:pt>
          <cx:pt idx="2485">DOc966</cx:pt>
          <cx:pt idx="2486">DOc967</cx:pt>
          <cx:pt idx="2487">DOc968</cx:pt>
          <cx:pt idx="2488">DOc969</cx:pt>
          <cx:pt idx="2489">DOc97</cx:pt>
          <cx:pt idx="2490">DOc970</cx:pt>
          <cx:pt idx="2491">DOc971</cx:pt>
          <cx:pt idx="2492">DOc972</cx:pt>
          <cx:pt idx="2493">DOc973</cx:pt>
          <cx:pt idx="2494">DOc974</cx:pt>
          <cx:pt idx="2495">DOc975</cx:pt>
          <cx:pt idx="2496">DOc976</cx:pt>
          <cx:pt idx="2497">DOc977</cx:pt>
          <cx:pt idx="2498">DOc978</cx:pt>
          <cx:pt idx="2499">DOc979</cx:pt>
          <cx:pt idx="2500">DOc98</cx:pt>
          <cx:pt idx="2501">DOc980</cx:pt>
          <cx:pt idx="2502">DOc981</cx:pt>
          <cx:pt idx="2503">DOc982</cx:pt>
          <cx:pt idx="2504">DOc983</cx:pt>
          <cx:pt idx="2505">DOc984</cx:pt>
          <cx:pt idx="2506">DOc985</cx:pt>
          <cx:pt idx="2507">DOc986</cx:pt>
          <cx:pt idx="2508">DOc987</cx:pt>
          <cx:pt idx="2509">DOc988</cx:pt>
          <cx:pt idx="2510">DOc989</cx:pt>
          <cx:pt idx="2511">DOc99</cx:pt>
          <cx:pt idx="2512">DOc990</cx:pt>
          <cx:pt idx="2513">DOc991</cx:pt>
          <cx:pt idx="2514">DOc992</cx:pt>
          <cx:pt idx="2515">DOc993</cx:pt>
          <cx:pt idx="2516">DOc994</cx:pt>
          <cx:pt idx="2517">DOc995</cx:pt>
          <cx:pt idx="2518">DOc996</cx:pt>
          <cx:pt idx="2519">DOc997</cx:pt>
          <cx:pt idx="2520">DOc998</cx:pt>
          <cx:pt idx="2521">DOc999</cx:pt>
        </cx:lvl>
      </cx:strDim>
      <cx:numDim type="val">
        <cx:f>Sheet1!$D$2:$D$2523</cx:f>
        <cx:lvl ptCount="2522" formatCode="0%">
          <cx:pt idx="0">0.00050410387716489995</cx:pt>
          <cx:pt idx="1">0.090061065050466599</cx:pt>
          <cx:pt idx="2">0.066183851331083399</cx:pt>
          <cx:pt idx="3">-0.043533439618736298</cx:pt>
          <cx:pt idx="4">0.18298806282817701</cx:pt>
          <cx:pt idx="5">0.110855274930002</cx:pt>
          <cx:pt idx="6">0.069912185712024594</cx:pt>
          <cx:pt idx="7">0.042800117277220898</cx:pt>
          <cx:pt idx="8">-0.023263791558257502</cx:pt>
          <cx:pt idx="9">0.070758824250437696</cx:pt>
          <cx:pt idx="10">0.0090181020092682009</cx:pt>
          <cx:pt idx="11">0.124686571971281</cx:pt>
          <cx:pt idx="12">-0.187784668777497</cx:pt>
          <cx:pt idx="13">-0.025335344725654799</cx:pt>
          <cx:pt idx="14">0.071333827492040203</cx:pt>
          <cx:pt idx="15">0.084427572748956597</cx:pt>
          <cx:pt idx="16">0.115518068528667</cx:pt>
          <cx:pt idx="17">0.00034564614634210002</cx:pt>
          <cx:pt idx="18">0.141909867173654</cx:pt>
          <cx:pt idx="19">0.0569184131685627</cx:pt>
          <cx:pt idx="20">-0.013284962877875299</cx:pt>
          <cx:pt idx="21">0.050829230658877997</cx:pt>
          <cx:pt idx="22">0.0873919577082065</cx:pt>
          <cx:pt idx="23">0.028768985029144999</cx:pt>
          <cx:pt idx="24">0.060339185618252703</cx:pt>
          <cx:pt idx="25">0.109469244505152</cx:pt>
          <cx:pt idx="26">0.061281381481720597</cx:pt>
          <cx:pt idx="27">0.034038802537888699</cx:pt>
          <cx:pt idx="28">0.115574784477894</cx:pt>
          <cx:pt idx="29">0.073794542159354604</cx:pt>
          <cx:pt idx="30">0.018306493589965101</cx:pt>
          <cx:pt idx="31">-0.0087351254701650005</cx:pt>
          <cx:pt idx="32">0.13984095800323301</cx:pt>
          <cx:pt idx="33">0.154358360173836</cx:pt>
          <cx:pt idx="34">-0.0142303731377938</cx:pt>
          <cx:pt idx="35">0.0423425562187877</cx:pt>
          <cx:pt idx="36">0.096283736916501203</cx:pt>
          <cx:pt idx="37">-0.049863358291515503</cx:pt>
          <cx:pt idx="38">0.056188659482666901</cx:pt>
          <cx:pt idx="39">-0.029915064067423499</cx:pt>
          <cx:pt idx="40">0.0502681723699131</cx:pt>
          <cx:pt idx="41">0.0070819334071664996</cx:pt>
          <cx:pt idx="42">-0.036870710142126298</cx:pt>
          <cx:pt idx="43">0.118825348655832</cx:pt>
          <cx:pt idx="44">0.0381831950099197</cx:pt>
          <cx:pt idx="45">0.131758082686215</cx:pt>
          <cx:pt idx="46">0.0278822619586724</cx:pt>
          <cx:pt idx="47">0.082029459248608994</cx:pt>
          <cx:pt idx="48">0.038919447159525999</cx:pt>
          <cx:pt idx="49">0.078313351919600094</cx:pt>
          <cx:pt idx="50">0.055472365982369501</cx:pt>
          <cx:pt idx="51">-0.052226848187081003</cx:pt>
          <cx:pt idx="52">-0.0100254538061365</cx:pt>
          <cx:pt idx="53">-0.035456935079171401</cx:pt>
          <cx:pt idx="54">-0.022537530971625402</cx:pt>
          <cx:pt idx="55">0.056625159226837501</cx:pt>
          <cx:pt idx="56">0.037790428807303801</cx:pt>
          <cx:pt idx="57">0.086384617322401006</cx:pt>
          <cx:pt idx="58">-0.0098432936883188007</cx:pt>
          <cx:pt idx="59">0.10844163220293</cx:pt>
          <cx:pt idx="60">-0.045606395712487299</cx:pt>
          <cx:pt idx="61">-0.0476207584796699</cx:pt>
          <cx:pt idx="62">-0.0089389433506026003</cx:pt>
          <cx:pt idx="63">-0.064975109258451694</cx:pt>
          <cx:pt idx="64">-0.10094497336029599</cx:pt>
          <cx:pt idx="65">0.085086328974771405</cx:pt>
          <cx:pt idx="66">0.097356338564069902</cx:pt>
          <cx:pt idx="67">-0.084472861059049206</cx:pt>
          <cx:pt idx="68">0.090180543310736702</cx:pt>
          <cx:pt idx="69">-0.137005106028315</cx:pt>
          <cx:pt idx="70">0.0480290670794392</cx:pt>
          <cx:pt idx="71">0.15261869823082799</cx:pt>
          <cx:pt idx="72">0.011295188345135401</cx:pt>
          <cx:pt idx="73">0.010738558350420599</cx:pt>
          <cx:pt idx="74">0.056840866260782198</cx:pt>
          <cx:pt idx="75">0.104432037110907</cx:pt>
          <cx:pt idx="76">0.0031956405601002002</cx:pt>
          <cx:pt idx="77">0.16270521023228801</cx:pt>
          <cx:pt idx="78">-0.13631284250588999</cx:pt>
          <cx:pt idx="79">0.0144148941684682</cx:pt>
          <cx:pt idx="80">0.056695919754484299</cx:pt>
          <cx:pt idx="81">0.086408226050253598</cx:pt>
          <cx:pt idx="82">0.11101173370814101</cx:pt>
          <cx:pt idx="83">0.10155884173152301</cx:pt>
          <cx:pt idx="84">0.025404335974988701</cx:pt>
          <cx:pt idx="85">-0.25935747471370801</cx:pt>
          <cx:pt idx="86">0.11715529217835299</cx:pt>
          <cx:pt idx="87">0.090577493935964995</cx:pt>
          <cx:pt idx="88">-0.051563218603331497</cx:pt>
          <cx:pt idx="89">0.037143876505549199</cx:pt>
          <cx:pt idx="90">-0.052305105176860898</cx:pt>
          <cx:pt idx="91">0.044247905422322702</cx:pt>
          <cx:pt idx="92">0.0092008840156097005</cx:pt>
          <cx:pt idx="93">0.079966177789179194</cx:pt>
          <cx:pt idx="94">-0.0118090953079453</cx:pt>
          <cx:pt idx="95">0.082722804705256503</cx:pt>
          <cx:pt idx="96">0.043917439380008902</cx:pt>
          <cx:pt idx="97">0.156609647247759</cx:pt>
          <cx:pt idx="98">-0.024619126537892399</cx:pt>
          <cx:pt idx="99">0.074594675594998106</cx:pt>
          <cx:pt idx="100">0.117406805640038</cx:pt>
          <cx:pt idx="101">0.022682323155081899</cx:pt>
          <cx:pt idx="102">0.02855182213021</cx:pt>
          <cx:pt idx="103">0.090150756958216297</cx:pt>
          <cx:pt idx="104">-0.13846387776204599</cx:pt>
          <cx:pt idx="105">0.15933421045888699</cx:pt>
          <cx:pt idx="106">0.040665997102452001</cx:pt>
          <cx:pt idx="107">-0.055286790536514703</cx:pt>
          <cx:pt idx="108">-0.039212392357437197</cx:pt>
          <cx:pt idx="109">0.13388728514428599</cx:pt>
          <cx:pt idx="110">-0.034949067229015002</cx:pt>
          <cx:pt idx="111">0.065284135789991204</cx:pt>
          <cx:pt idx="112">0.112238605729024</cx:pt>
          <cx:pt idx="113">0.119614787467882</cx:pt>
          <cx:pt idx="114">0.10421878957321901</cx:pt>
          <cx:pt idx="115">0.087262474602470996</cx:pt>
          <cx:pt idx="116">0.0031353684282471</cx:pt>
          <cx:pt idx="117">0.141217095681231</cx:pt>
          <cx:pt idx="118">0.175116467756428</cx:pt>
          <cx:pt idx="119">0.111311105130514</cx:pt>
          <cx:pt idx="120">0.0138710159309627</cx:pt>
          <cx:pt idx="121">0.10154838693696</cx:pt>
          <cx:pt idx="122">0.038845386785549003</cx:pt>
          <cx:pt idx="123">0.098578687698022902</cx:pt>
          <cx:pt idx="124">0.010064012948413</cx:pt>
          <cx:pt idx="125">-0.022788453498914701</cx:pt>
          <cx:pt idx="126">0.146560722700528</cx:pt>
          <cx:pt idx="127">0.023241548566553302</cx:pt>
          <cx:pt idx="128">0.023940669928305101</cx:pt>
          <cx:pt idx="129">0.12173995380627101</cx:pt>
          <cx:pt idx="130">-0.073536585934540197</cx:pt>
          <cx:pt idx="131">0.093967330376818994</cx:pt>
          <cx:pt idx="132">0.046086146684729198</cx:pt>
          <cx:pt idx="133">0.108021989376718</cx:pt>
          <cx:pt idx="134">0.0547036550186661</cx:pt>
          <cx:pt idx="135">0.115689588496441</cx:pt>
          <cx:pt idx="136">0.11748462735892599</cx:pt>
          <cx:pt idx="137">0.13673265500133899</cx:pt>
          <cx:pt idx="138">0.14180087871271399</cx:pt>
          <cx:pt idx="139">0.120337844679476</cx:pt>
          <cx:pt idx="140">0.0166992741830259</cx:pt>
          <cx:pt idx="141">0.0078278360761587003</cx:pt>
          <cx:pt idx="142">-0.10455161238248099</cx:pt>
          <cx:pt idx="143">-0.058785873941262799</cx:pt>
          <cx:pt idx="144">0.068132148382444899</cx:pt>
          <cx:pt idx="145">0.0095070239003682</cx:pt>
          <cx:pt idx="146">0.057678176841118999</cx:pt>
          <cx:pt idx="147">0.065429861612106496</cx:pt>
          <cx:pt idx="148">0.0305352681810209</cx:pt>
          <cx:pt idx="149">0.043623337158833701</cx:pt>
          <cx:pt idx="150">-0.0104108385231558</cx:pt>
          <cx:pt idx="151">0.0522042972275399</cx:pt>
          <cx:pt idx="152">0.10152241950160799</cx:pt>
          <cx:pt idx="153">0.019867346514363698</cx:pt>
          <cx:pt idx="154">0.084719361303863705</cx:pt>
          <cx:pt idx="155">0.098414709200361994</cx:pt>
          <cx:pt idx="156">0.112726719111729</cx:pt>
          <cx:pt idx="157">0.038426351082048102</cx:pt>
          <cx:pt idx="158">0.089780899774837802</cx:pt>
          <cx:pt idx="159">0.116893192972534</cx:pt>
          <cx:pt idx="160">0.011448055400776799</cx:pt>
          <cx:pt idx="161">0.16198839618156299</cx:pt>
          <cx:pt idx="162">0.0246239438598807</cx:pt>
          <cx:pt idx="163">0.059126972274735401</cx:pt>
          <cx:pt idx="164">-0.0815109729792131</cx:pt>
          <cx:pt idx="165">0.088781764867177301</cx:pt>
          <cx:pt idx="166">-0.129291612063518</cx:pt>
          <cx:pt idx="167">0.037823146552565197</cx:pt>
          <cx:pt idx="168">0.041005563673493998</cx:pt>
          <cx:pt idx="169">0.038969105059594202</cx:pt>
          <cx:pt idx="170">0.099639292963499299</cx:pt>
          <cx:pt idx="171">0.031135681716758502</cx:pt>
          <cx:pt idx="172">-0.072910775891613003</cx:pt>
          <cx:pt idx="173">0.109074309508032</cx:pt>
          <cx:pt idx="174">0.023360357578168199</cx:pt>
          <cx:pt idx="175">0.062869021652771306</cx:pt>
          <cx:pt idx="176">-0.0556295257943673</cx:pt>
          <cx:pt idx="177">-0.037588450871815199</cx:pt>
          <cx:pt idx="178">-0.068377363403682598</cx:pt>
          <cx:pt idx="179">-0.0115031262731953</cx:pt>
          <cx:pt idx="180">-0.088741676194290894</cx:pt>
          <cx:pt idx="181">0.067949890992264297</cx:pt>
          <cx:pt idx="182">0.10015195951436601</cx:pt>
          <cx:pt idx="183">0.0530264327012612</cx:pt>
          <cx:pt idx="184">0.034945089553198701</cx:pt>
          <cx:pt idx="185">-0.047923929414218497</cx:pt>
          <cx:pt idx="186">0.046383629636490398</cx:pt>
          <cx:pt idx="187">-0.20819473972605099</cx:pt>
          <cx:pt idx="188">0.048806072887573</cx:pt>
          <cx:pt idx="189">-0.0181643853019984</cx:pt>
          <cx:pt idx="190">0.090560453109772898</cx:pt>
          <cx:pt idx="191">-0.053926115813264397</cx:pt>
          <cx:pt idx="192">-0.13893847142375901</cx:pt>
          <cx:pt idx="193">-0.070933858269476693</cx:pt>
          <cx:pt idx="194">-0.075634359031378801</cx:pt>
          <cx:pt idx="195">0.10651486278884099</cx:pt>
          <cx:pt idx="196">0.062163073644495401</cx:pt>
          <cx:pt idx="197">0.067528306339876207</cx:pt>
          <cx:pt idx="198">0.0251763977074255</cx:pt>
          <cx:pt idx="199">0.12136249404645499</cx:pt>
          <cx:pt idx="200">-0.060942979750713402</cx:pt>
          <cx:pt idx="201">0.052462245477714602</cx:pt>
          <cx:pt idx="202">-0.068831624486578702</cx:pt>
          <cx:pt idx="203">0.14252816883632699</cx:pt>
          <cx:pt idx="204">-0.106552996987872</cx:pt>
          <cx:pt idx="205">0.096166291338872695</cx:pt>
          <cx:pt idx="206">0.057298751050708599</cx:pt>
          <cx:pt idx="207">0.106706746779877</cx:pt>
          <cx:pt idx="208">-0.0088134283558563998</cx:pt>
          <cx:pt idx="209">-0.054412747625376401</cx:pt>
          <cx:pt idx="210">0.0072747460819793004</cx:pt>
          <cx:pt idx="211">0.12736491096879399</cx:pt>
          <cx:pt idx="212">-0.065058361196459594</cx:pt>
          <cx:pt idx="213">0.059926653032226197</cx:pt>
          <cx:pt idx="214">0.070128980763893706</cx:pt>
          <cx:pt idx="215">0.15202269272228</cx:pt>
          <cx:pt idx="216">0.033709999665397401</cx:pt>
          <cx:pt idx="217">-0.0458428661458785</cx:pt>
          <cx:pt idx="218">0.078022656664130705</cx:pt>
          <cx:pt idx="219">0.071697963032973502</cx:pt>
          <cx:pt idx="220">0.025503190748033502</cx:pt>
          <cx:pt idx="221">9.6432592133571804e-05</cx:pt>
          <cx:pt idx="222">0.11449450965739399</cx:pt>
          <cx:pt idx="223">0.165164409777664</cx:pt>
          <cx:pt idx="224">-0.10999348529178</cx:pt>
          <cx:pt idx="225">0.068476832963574305</cx:pt>
          <cx:pt idx="226">0.122708902699846</cx:pt>
          <cx:pt idx="227">0.058243336152195201</cx:pt>
          <cx:pt idx="228">0.057871443530748502</cx:pt>
          <cx:pt idx="229">0.044028807489494802</cx:pt>
          <cx:pt idx="230">0.093500747881589297</cx:pt>
          <cx:pt idx="231">0.143785649989705</cx:pt>
          <cx:pt idx="232">0.026596155618559499</cx:pt>
          <cx:pt idx="233">0.085753552491073401</cx:pt>
          <cx:pt idx="234">0.0088730515931501001</cx:pt>
          <cx:pt idx="235">0.0604428157263611</cx:pt>
          <cx:pt idx="236">-0.028473138477751</cx:pt>
          <cx:pt idx="237">0.081516988435043597</cx:pt>
          <cx:pt idx="238">0.078535824357822498</cx:pt>
          <cx:pt idx="239">-0.0060098711894277998</cx:pt>
          <cx:pt idx="240">0.150940468037009</cx:pt>
          <cx:pt idx="241">-0.050489436289598497</cx:pt>
          <cx:pt idx="242">0.0004750329575833</cx:pt>
          <cx:pt idx="243">0.054047549968545099</cx:pt>
          <cx:pt idx="244">-0.061633500390264002</cx:pt>
          <cx:pt idx="245">0.050424219193547802</cx:pt>
          <cx:pt idx="246">0.0122329017702177</cx:pt>
          <cx:pt idx="247">0.055297300075770703</cx:pt>
          <cx:pt idx="248">0.13054766990297001</cx:pt>
          <cx:pt idx="249">-0.072158299585248498</cx:pt>
          <cx:pt idx="250">0.071473904834635296</cx:pt>
          <cx:pt idx="251">0.071086704196254499</cx:pt>
          <cx:pt idx="252">0.070077894152750703</cx:pt>
          <cx:pt idx="253">0.076146073128526601</cx:pt>
          <cx:pt idx="254">0.045234022440731901</cx:pt>
          <cx:pt idx="255">0.0353051813006416</cx:pt>
          <cx:pt idx="256">0.111913444625894</cx:pt>
          <cx:pt idx="257">0.16090483600664601</cx:pt>
          <cx:pt idx="258">0.015065667592268701</cx:pt>
          <cx:pt idx="259">0.056039345292918798</cx:pt>
          <cx:pt idx="260">0.085548171817680999</cx:pt>
          <cx:pt idx="261">0.094102880977446096</cx:pt>
          <cx:pt idx="262">0.068215337683449007</cx:pt>
          <cx:pt idx="263">0.0132203342914164</cx:pt>
          <cx:pt idx="264">0.056724044150368302</cx:pt>
          <cx:pt idx="265">-0.01717665168186</cx:pt>
          <cx:pt idx="266">-0.0022801601853493</cx:pt>
          <cx:pt idx="267">0.063296346661501093</cx:pt>
          <cx:pt idx="268">0.054955736270412898</cx:pt>
          <cx:pt idx="269">-0.063220718493561506</cx:pt>
          <cx:pt idx="270">-0.0092508630972510993</cx:pt>
          <cx:pt idx="271">0.054852924034047297</cx:pt>
          <cx:pt idx="272">0.041250324928485703</cx:pt>
          <cx:pt idx="273">-0.0036823046087070999</cx:pt>
          <cx:pt idx="274">0.074768996458977596</cx:pt>
          <cx:pt idx="275">0.0356238651325467</cx:pt>
          <cx:pt idx="276">0.11189536446944399</cx:pt>
          <cx:pt idx="277">0.0875493419531891</cx:pt>
          <cx:pt idx="278">0.122109205155593</cx:pt>
          <cx:pt idx="279">0.053534559313519997</cx:pt>
          <cx:pt idx="280">0.064782090652510296</cx:pt>
          <cx:pt idx="281">0.091100968778128205</cx:pt>
          <cx:pt idx="282">-0.088982700589696595</cx:pt>
          <cx:pt idx="283">-0.0331984825587456</cx:pt>
          <cx:pt idx="284">0.050858657976125397</cx:pt>
          <cx:pt idx="285">0.12795541467704299</cx:pt>
          <cx:pt idx="286">0.095033810751497097</cx:pt>
          <cx:pt idx="287">0.084062883534311295</cx:pt>
          <cx:pt idx="288">0.060732202848824399</cx:pt>
          <cx:pt idx="289">0.083292025780685994</cx:pt>
          <cx:pt idx="290">0.094564260376957698</cx:pt>
          <cx:pt idx="291">0.027629229562246199</cx:pt>
          <cx:pt idx="292">0.111466346620038</cx:pt>
          <cx:pt idx="293">0.189185645152603</cx:pt>
          <cx:pt idx="294">0.15656913987034701</cx:pt>
          <cx:pt idx="295">-0.0696602553654007</cx:pt>
          <cx:pt idx="296">-0.10709085970141501</cx:pt>
          <cx:pt idx="297">-0.084749411070447006</cx:pt>
          <cx:pt idx="298">0.004469825404836</cx:pt>
          <cx:pt idx="299">0.039431480630675898</cx:pt>
          <cx:pt idx="300">0.077421171202893699</cx:pt>
          <cx:pt idx="301">0.10170897102021199</cx:pt>
          <cx:pt idx="302">0.068636049108744296</cx:pt>
          <cx:pt idx="303">0.121453103073144</cx:pt>
          <cx:pt idx="304">0.119297195201267</cx:pt>
          <cx:pt idx="305">-0.0034242259607737001</cx:pt>
          <cx:pt idx="306">-0.012730824743004399</cx:pt>
          <cx:pt idx="307">0.050837169651761202</cx:pt>
          <cx:pt idx="308">-0.083829821969751001</cx:pt>
          <cx:pt idx="309">-0.031482002668661198</cx:pt>
          <cx:pt idx="310">-0.011601327189075</cx:pt>
          <cx:pt idx="311">0.143379580549723</cx:pt>
          <cx:pt idx="312">0.15671370879518201</cx:pt>
          <cx:pt idx="313">0.0025649131067533998</cx:pt>
          <cx:pt idx="314">0.0132484644377377</cx:pt>
          <cx:pt idx="315">0.077102503591570004</cx:pt>
          <cx:pt idx="316">-0.011845986023072399</cx:pt>
          <cx:pt idx="317">0.0368134211104372</cx:pt>
          <cx:pt idx="318">0.016998173668568001</cx:pt>
          <cx:pt idx="319">0.0077578783422572999</cx:pt>
          <cx:pt idx="320">0.10970547200509601</cx:pt>
          <cx:pt idx="321">0.074886323223396806</cx:pt>
          <cx:pt idx="322">0.037155099088675397</cx:pt>
          <cx:pt idx="323">0.067513677879706302</cx:pt>
          <cx:pt idx="324">-0.0079120804020217997</cx:pt>
          <cx:pt idx="325">0.101039750351373</cx:pt>
          <cx:pt idx="326">-0.015819185475606901</cx:pt>
          <cx:pt idx="327">-0.049782624953988899</cx:pt>
          <cx:pt idx="328">0.032923392052130698</cx:pt>
          <cx:pt idx="329">0.060527853119565302</cx:pt>
          <cx:pt idx="330">0.032731756334906</cx:pt>
          <cx:pt idx="331">0.087986878612794903</cx:pt>
          <cx:pt idx="332">-0.0062152090717073998</cx:pt>
          <cx:pt idx="333">0.00042451877570769998</cx:pt>
          <cx:pt idx="334">-0.020818444823288301</cx:pt>
          <cx:pt idx="335">-0.0137320695002911</cx:pt>
          <cx:pt idx="336">0.0497830186031199</cx:pt>
          <cx:pt idx="337">0.092934466494122805</cx:pt>
          <cx:pt idx="338">0.137146061557197</cx:pt>
          <cx:pt idx="339">0.0216579667833766</cx:pt>
          <cx:pt idx="340">0.060460179594170597</cx:pt>
          <cx:pt idx="341">0.115023932065935</cx:pt>
          <cx:pt idx="342">0.019952246956813399</cx:pt>
          <cx:pt idx="343">0.101884584064839</cx:pt>
          <cx:pt idx="344">0.044758261698045101</cx:pt>
          <cx:pt idx="345">0.074997053416043194</cx:pt>
          <cx:pt idx="346">0.107252081427386</cx:pt>
          <cx:pt idx="347">0.090934638779466295</cx:pt>
          <cx:pt idx="348">0.03592333041371</cx:pt>
          <cx:pt idx="349">0.0047512409884644998</cx:pt>
          <cx:pt idx="350">0.031467133965212599</cx:pt>
          <cx:pt idx="351">0.082080378553025302</cx:pt>
          <cx:pt idx="352">0.0070348621926005998</cx:pt>
          <cx:pt idx="353">-0.015077914888874401</cx:pt>
          <cx:pt idx="354">0.12672415399225201</cx:pt>
          <cx:pt idx="355">0.0084963346893585992</cx:pt>
          <cx:pt idx="356">-0.044889172467567101</cx:pt>
          <cx:pt idx="357">0.095706311436481201</cx:pt>
          <cx:pt idx="358">0.057539679947935803</cx:pt>
          <cx:pt idx="359">0.10661729659348999</cx:pt>
          <cx:pt idx="360">-0.13924973204090499</cx:pt>
          <cx:pt idx="361">0.070639942409939399</cx:pt>
          <cx:pt idx="362">0.023979723207780801</cx:pt>
          <cx:pt idx="363">0.036895654654860603</cx:pt>
          <cx:pt idx="364">0.022595934944003498</cx:pt>
          <cx:pt idx="365">0.078894654142865506</cx:pt>
          <cx:pt idx="366">0.056188659482666901</cx:pt>
          <cx:pt idx="367">0.022926843349066899</cx:pt>
          <cx:pt idx="368">0.093337484681524294</cx:pt>
          <cx:pt idx="369">0.15310090467513299</cx:pt>
          <cx:pt idx="370">0.0086587031196463</cx:pt>
          <cx:pt idx="371">0.056036336089588003</cx:pt>
          <cx:pt idx="372">0.058669808780868499</cx:pt>
          <cx:pt idx="373">0.13911225442974001</cx:pt>
          <cx:pt idx="374">0.054154660262525398</cx:pt>
          <cx:pt idx="375">0.0092626794961858001</cx:pt>
          <cx:pt idx="376">0.15134696994774499</cx:pt>
          <cx:pt idx="377">-0.052618219030532001</cx:pt>
          <cx:pt idx="378">0.054969483703776703</cx:pt>
          <cx:pt idx="379">0.087866368418145893</cx:pt>
          <cx:pt idx="380">0.088086394723034103</cx:pt>
          <cx:pt idx="381">-0.043078733976676102</cx:pt>
          <cx:pt idx="382">-0.039748286830862303</cx:pt>
          <cx:pt idx="383">0.030279616867459402</cx:pt>
          <cx:pt idx="384">0.10336116260631301</cx:pt>
          <cx:pt idx="385">0.073433405646240998</cx:pt>
          <cx:pt idx="386">0.039046534245532803</cx:pt>
          <cx:pt idx="387">0.034655553273284602</cx:pt>
          <cx:pt idx="388">0.0373922608918415</cx:pt>
          <cx:pt idx="389">0.0505335353907179</cx:pt>
          <cx:pt idx="390">0.0143386691336228</cx:pt>
          <cx:pt idx="391">-0.043326075184153698</cx:pt>
          <cx:pt idx="392">-0.22029471788729099</cx:pt>
          <cx:pt idx="393">-0.049438836467155002</cx:pt>
          <cx:pt idx="394">0.035155062608688697</cx:pt>
          <cx:pt idx="395">0.076356888821798405</cx:pt>
          <cx:pt idx="396">0.044655318902348203</cx:pt>
          <cx:pt idx="397">0.077614841840719595</cx:pt>
          <cx:pt idx="398">0.010294235023517</cx:pt>
          <cx:pt idx="399">0.012620109698292701</cx:pt>
          <cx:pt idx="400">0.069117235381489103</cx:pt>
          <cx:pt idx="401">0.080291498377419501</cx:pt>
          <cx:pt idx="402">0.011743027315563001</cx:pt>
          <cx:pt idx="403">0.079331324781238804</cx:pt>
          <cx:pt idx="404">-0.0103546825880574</cx:pt>
          <cx:pt idx="405">0.024951468832339799</cx:pt>
          <cx:pt idx="406">-0.015858758279534299</cx:pt>
          <cx:pt idx="407">0.0169764255826572</cx:pt>
          <cx:pt idx="408">0.033097030143673899</cx:pt>
          <cx:pt idx="409">0.18137097000196201</cx:pt>
          <cx:pt idx="410">0.061392948529890398</cx:pt>
          <cx:pt idx="411">0.020921433485904299</cx:pt>
          <cx:pt idx="412">0.081234880013365596</cx:pt>
          <cx:pt idx="413">0.119927494408629</cx:pt>
          <cx:pt idx="414">-0.019602631020850601</cx:pt>
          <cx:pt idx="415">0.056236938732277003</cx:pt>
          <cx:pt idx="416">0.071637124412689795</cx:pt>
          <cx:pt idx="417">0.15080592810057</cx:pt>
          <cx:pt idx="418">0.0064816155501198998</cx:pt>
          <cx:pt idx="419">0.0048439835625828003</cx:pt>
          <cx:pt idx="420">0.13229649477385699</cx:pt>
          <cx:pt idx="421">-0.0020127292823928001</cx:pt>
          <cx:pt idx="422">0.094699607619610299</cx:pt>
          <cx:pt idx="423">0.064285204933133597</cx:pt>
          <cx:pt idx="424">0.123069952492579</cx:pt>
          <cx:pt idx="425">0.10964023072460299</cx:pt>
          <cx:pt idx="426">0.043676831228435298</cx:pt>
          <cx:pt idx="427">0.099861661087412304</cx:pt>
          <cx:pt idx="428">0.12267884229583501</cx:pt>
          <cx:pt idx="429">-0.027262296006934399</cx:pt>
          <cx:pt idx="430">-0.0016036712602766001</cx:pt>
          <cx:pt idx="431">0.026194420563399701</cx:pt>
          <cx:pt idx="432">-0.090461158727360796</cx:pt>
          <cx:pt idx="433">0.041853827328488802</cx:pt>
          <cx:pt idx="434">-0.13402558808037299</cx:pt>
          <cx:pt idx="435">0.055755205517864399</cx:pt>
          <cx:pt idx="436">0.105781780272229</cx:pt>
          <cx:pt idx="437">0.080245213615041097</cx:pt>
          <cx:pt idx="438">-0.012854144815014</cx:pt>
          <cx:pt idx="439">0.026955746704723001</cx:pt>
          <cx:pt idx="440">-0.040522733506152299</cx:pt>
          <cx:pt idx="441">0.151898196846389</cx:pt>
          <cx:pt idx="442">0.019011399032262101</cx:pt>
          <cx:pt idx="443">0.074960479825808904</cx:pt>
          <cx:pt idx="444">-0.10928904476825101</cx:pt>
          <cx:pt idx="445">0.039551798336453198</cx:pt>
          <cx:pt idx="446">0.0022172594986227998</cx:pt>
          <cx:pt idx="447">0.133842194137203</cx:pt>
          <cx:pt idx="448">0.062635500286405799</cx:pt>
          <cx:pt idx="449">0.026195425858652199</cx:pt>
          <cx:pt idx="450">-0.050159140374373898</cx:pt>
          <cx:pt idx="451">-0.0048882793415828997</cx:pt>
          <cx:pt idx="452">0.13265173155568399</cx:pt>
          <cx:pt idx="453">0.106670683970578</cx:pt>
          <cx:pt idx="454">0.028532405083727602</cx:pt>
          <cx:pt idx="455">-0.033984793510411601</cx:pt>
          <cx:pt idx="456">0.0147299564536452</cx:pt>
          <cx:pt idx="457">0.043293614186690303</cx:pt>
          <cx:pt idx="458">0.037413518260169303</cx:pt>
          <cx:pt idx="459">0.037513938798746399</cx:pt>
          <cx:pt idx="460">0.045266972773802698</cx:pt>
          <cx:pt idx="461">0.13471561790141801</cx:pt>
          <cx:pt idx="462">0.026009070791259602</cx:pt>
          <cx:pt idx="463">0.064037725351437105</cx:pt>
          <cx:pt idx="464">-0.035325624614889098</cx:pt>
          <cx:pt idx="465">-0.026932359951220401</cx:pt>
          <cx:pt idx="466">0.097451897767320203</cx:pt>
          <cx:pt idx="467">0.020452193854460999</cx:pt>
          <cx:pt idx="468">0.082689972015088806</cx:pt>
          <cx:pt idx="469">0.13855121597237399</cx:pt>
          <cx:pt idx="470">0.073169292920461301</cx:pt>
          <cx:pt idx="471">-0.114890152197399</cx:pt>
          <cx:pt idx="472">0.113316641619533</cx:pt>
          <cx:pt idx="473">0.118909385529973</cx:pt>
          <cx:pt idx="474">-0.051328127845042697</cx:pt>
          <cx:pt idx="475">0.14056994410458701</cx:pt>
          <cx:pt idx="476">0.116687579699463</cx:pt>
          <cx:pt idx="477">0.12558838774327699</cx:pt>
          <cx:pt idx="478">0.089877015298205104</cx:pt>
          <cx:pt idx="479">-0.0015355346455775</cx:pt>
          <cx:pt idx="480">0.061903686727785498</cx:pt>
          <cx:pt idx="481">-0.0042956409355965003</cx:pt>
          <cx:pt idx="482">0.14931589301779599</cx:pt>
          <cx:pt idx="483">0.122357038389542</cx:pt>
          <cx:pt idx="484">0.13296999968505499</cx:pt>
          <cx:pt idx="485">0.10092401743767999</cx:pt>
          <cx:pt idx="486">0.10958585127611099</cx:pt>
          <cx:pt idx="487">-0.029184910547080299</cx:pt>
          <cx:pt idx="488">0.12742721185747999</cx:pt>
          <cx:pt idx="489">0.133506950353908</cx:pt>
          <cx:pt idx="490">-0.0040093063570909998</cx:pt>
          <cx:pt idx="491">0.065121963075890396</cx:pt>
          <cx:pt idx="492">0.0435230479651647</cx:pt>
          <cx:pt idx="493">0.080127348654318004</cx:pt>
          <cx:pt idx="494">0.18468093742347899</cx:pt>
          <cx:pt idx="495">0.092453196060286597</cx:pt>
          <cx:pt idx="496">0.0128970610753051</cx:pt>
          <cx:pt idx="497">0.047487652169788702</cx:pt>
          <cx:pt idx="498">0.054818855968875597</cx:pt>
          <cx:pt idx="499">0.038239424562807003</cx:pt>
          <cx:pt idx="500">-0.12069845143565</cx:pt>
          <cx:pt idx="501">-0.024354953849542001</cx:pt>
          <cx:pt idx="502">-0.027881632524971899</cx:pt>
          <cx:pt idx="503">-0.025222314302861801</cx:pt>
          <cx:pt idx="504">0.0079895482831098003</cx:pt>
          <cx:pt idx="505">0.054535562262696</cx:pt>
          <cx:pt idx="506">-0.0143932059165443</cx:pt>
          <cx:pt idx="507">0.065816721757818497</cx:pt>
          <cx:pt idx="508">-0.048524991420826398</cx:pt>
          <cx:pt idx="509">0.057628650690205001</cx:pt>
          <cx:pt idx="510">0.014249215447069599</cx:pt>
          <cx:pt idx="511">0.0080830262673900997</cx:pt>
          <cx:pt idx="512">0.0387198114168774</cx:pt>
          <cx:pt idx="513">0.064880527469607097</cx:pt>
          <cx:pt idx="514">0.108529622798792</cx:pt>
          <cx:pt idx="515">0.053865896840071002</cx:pt>
          <cx:pt idx="516">0.079378340616639398</cx:pt>
          <cx:pt idx="517">0.057644698711056402</cx:pt>
          <cx:pt idx="518">0.114310009405258</cx:pt>
          <cx:pt idx="519">-0.039667279188185203</cx:pt>
          <cx:pt idx="520">-0.0062538316552622</cx:pt>
          <cx:pt idx="521">-0.126219096701884</cx:pt>
          <cx:pt idx="522">0.076116088608761207</cx:pt>
          <cx:pt idx="523">-0.027428457372597199</cx:pt>
          <cx:pt idx="524">0.034211194172064703</cx:pt>
          <cx:pt idx="525">0.020361933350538201</cx:pt>
          <cx:pt idx="526">0.125397821121775</cx:pt>
          <cx:pt idx="527">0.15266970463391999</cx:pt>
          <cx:pt idx="528">-0.061551411857876298</cx:pt>
          <cx:pt idx="529">0.070773171145732297</cx:pt>
          <cx:pt idx="530">0.011097089756104199</cx:pt>
          <cx:pt idx="531">0.072414457398847498</cx:pt>
          <cx:pt idx="532">0.123768536844038</cx:pt>
          <cx:pt idx="533">0.024489564082692601</cx:pt>
          <cx:pt idx="534">-0.018225698836079898</cx:pt>
          <cx:pt idx="535">0.060845705953213799</cx:pt>
          <cx:pt idx="536">0.10691413181784901</cx:pt>
          <cx:pt idx="537">0.033837322898361999</cx:pt>
          <cx:pt idx="538">0.16416211378510601</cx:pt>
          <cx:pt idx="539">0.20064733607216201</cx:pt>
          <cx:pt idx="540">-0.020920457155788798</cx:pt>
          <cx:pt idx="541">-0.121933145198155</cx:pt>
          <cx:pt idx="542">0.015832804287616301</cx:pt>
          <cx:pt idx="543">0.13201826436290201</cx:pt>
          <cx:pt idx="544">-0.067369542009037497</cx:pt>
          <cx:pt idx="545">-0.073966993835448303</cx:pt>
          <cx:pt idx="546">0.104717428689216</cx:pt>
          <cx:pt idx="547">-0.022158366722095701</cx:pt>
          <cx:pt idx="548">0.077774644398499695</cx:pt>
          <cx:pt idx="549">0.030893239952006501</cx:pt>
          <cx:pt idx="550">0.062232322753948098</cx:pt>
          <cx:pt idx="551">0.097924381424416201</cx:pt>
          <cx:pt idx="552">0.0799973004998486</cx:pt>
          <cx:pt idx="553">0.062310179721092498</cx:pt>
          <cx:pt idx="554">0.0288420858576975</cx:pt>
          <cx:pt idx="555">0.069734606711265995</cx:pt>
          <cx:pt idx="556">-0.13655845308304601</cx:pt>
          <cx:pt idx="557">-0.033052991204624203</cx:pt>
          <cx:pt idx="558">0.092157533581641402</cx:pt>
          <cx:pt idx="559">-0.017563851348796001</cx:pt>
          <cx:pt idx="560">0.100850018250882</cx:pt>
          <cx:pt idx="561">0.029672215954045102</cx:pt>
          <cx:pt idx="562">0.12965611693103299</cx:pt>
          <cx:pt idx="563">-0.063871138357729798</cx:pt>
          <cx:pt idx="564">0.050224501812216597</cx:pt>
          <cx:pt idx="565">0.032138525453114901</cx:pt>
          <cx:pt idx="566">0.0079036574007119997</cx:pt>
          <cx:pt idx="567">0.034132948870313901</cx:pt>
          <cx:pt idx="568">0.0103001368229297</cx:pt>
          <cx:pt idx="569">-0.14503453068712699</cx:pt>
          <cx:pt idx="570">0.121877389786948</cx:pt>
          <cx:pt idx="571">-0.044626671670104499</cx:pt>
          <cx:pt idx="572">0.100277636138944</cx:pt>
          <cx:pt idx="573">0.052120283813243302</cx:pt>
          <cx:pt idx="574">0.023309939854647199</cx:pt>
          <cx:pt idx="575">0.018464328075067999</cx:pt>
          <cx:pt idx="576">-0.124659354077174</cx:pt>
          <cx:pt idx="577">0.091642640805760303</cx:pt>
          <cx:pt idx="578">0.030642701877976901</cx:pt>
          <cx:pt idx="579">-0.011749781161904799</cx:pt>
          <cx:pt idx="580">-0.27841405202000302</cx:pt>
          <cx:pt idx="581">0.055968561158866302</cx:pt>
          <cx:pt idx="582">0.045093202777550197</cx:pt>
          <cx:pt idx="583">0.052505053040678498</cx:pt>
          <cx:pt idx="584">0.012280957264422901</cx:pt>
          <cx:pt idx="585">0.13784289135299099</cx:pt>
          <cx:pt idx="586">-0.104936325530291</cx:pt>
          <cx:pt idx="587">0.054733555923827303</cx:pt>
          <cx:pt idx="588">0.046376950490455301</cx:pt>
          <cx:pt idx="589">0.034115105965290903</cx:pt>
          <cx:pt idx="590">-0.027272287961911602</cx:pt>
          <cx:pt idx="591">0.026844697117457399</cx:pt>
          <cx:pt idx="592">0.062510841890545704</cx:pt>
          <cx:pt idx="593">0.063827052978509796</cx:pt>
          <cx:pt idx="594">0.14938938303140101</cx:pt>
          <cx:pt idx="595">0.068508220911237802</cx:pt>
          <cx:pt idx="596">0.056809187096379103</cx:pt>
          <cx:pt idx="597">0.064607341419211595</cx:pt>
          <cx:pt idx="598">0.042000686119212101</cx:pt>
          <cx:pt idx="599">0.054160778081479101</cx:pt>
          <cx:pt idx="600">-0.16266882450279799</cx:pt>
          <cx:pt idx="601">0.064125652530111099</cx:pt>
          <cx:pt idx="602">-0.056102779880864699</cx:pt>
          <cx:pt idx="603">0.046915072697800798</cx:pt>
          <cx:pt idx="604">-0.0301805517191907</cx:pt>
          <cx:pt idx="605">0.011816775471803299</cx:pt>
          <cx:pt idx="606">0.0274395492248274</cx:pt>
          <cx:pt idx="607">-0.061983643394150197</cx:pt>
          <cx:pt idx="608">0.16911834522879299</cx:pt>
          <cx:pt idx="609">0.0052282093375874998</cx:pt>
          <cx:pt idx="610">0.059387912642664797</cx:pt>
          <cx:pt idx="611">0.016347012270197699</cx:pt>
          <cx:pt idx="612">0.056904697946762797</cx:pt>
          <cx:pt idx="613">-0.098631948451422799</cx:pt>
          <cx:pt idx="614">0.0135433525308933</cx:pt>
          <cx:pt idx="615">-0.093020040523657199</cx:pt>
          <cx:pt idx="616">0.054146058239915099</cx:pt>
          <cx:pt idx="617">0.0260567807764602</cx:pt>
          <cx:pt idx="618">-0.060337297309428203</cx:pt>
          <cx:pt idx="619">0.089999632082659695</cx:pt>
          <cx:pt idx="620">-0.030183743731657199</cx:pt>
          <cx:pt idx="621">-0.149877637166451</cx:pt>
          <cx:pt idx="622">-0.0220196394165919</cx:pt>
          <cx:pt idx="623">0.14012882794152301</cx:pt>
          <cx:pt idx="624">0.119909292204586</cx:pt>
          <cx:pt idx="625">0.11170361069663701</cx:pt>
          <cx:pt idx="626">0.0596477492633119</cx:pt>
          <cx:pt idx="627">0.18439705201303</cx:pt>
          <cx:pt idx="628">-0.058883570312843997</cx:pt>
          <cx:pt idx="629">0.12704628061449399</cx:pt>
          <cx:pt idx="630">0.13791102311042699</cx:pt>
          <cx:pt idx="631">-0.088809422458416706</cx:pt>
          <cx:pt idx="632">-0.031990784562905099</cx:pt>
          <cx:pt idx="633">0.121080838898785</cx:pt>
          <cx:pt idx="634">0.11037130038151401</cx:pt>
          <cx:pt idx="635">0.055549996818945797</cx:pt>
          <cx:pt idx="636">0.0153382293718728</cx:pt>
          <cx:pt idx="637">-0.15710289246928499</cx:pt>
          <cx:pt idx="638">0.118716419089493</cx:pt>
          <cx:pt idx="639">-0.061065726420493002</cx:pt>
          <cx:pt idx="640">0.10326764516938799</cx:pt>
          <cx:pt idx="641">-0.0294818606859347</cx:pt>
          <cx:pt idx="642">-0.035137086785602303</cx:pt>
          <cx:pt idx="643">0.023480575865170099</cx:pt>
          <cx:pt idx="644">0.123257519655409</cx:pt>
          <cx:pt idx="645">0.0586891448621467</cx:pt>
          <cx:pt idx="646">0.053643605127941502</cx:pt>
          <cx:pt idx="647">0.081010409013720197</cx:pt>
          <cx:pt idx="648">0.080060522978770393</cx:pt>
          <cx:pt idx="649">0.0454836551124565</cx:pt>
          <cx:pt idx="650">0.0890336337026289</cx:pt>
          <cx:pt idx="651">0.0654892199416299</cx:pt>
          <cx:pt idx="652">0.087144124165101394</cx:pt>
          <cx:pt idx="653">0.187617363922226</cx:pt>
          <cx:pt idx="654">-0.043552228157694099</cx:pt>
          <cx:pt idx="655">0.023837678407522302</cx:pt>
          <cx:pt idx="656">0.059009212870593901</cx:pt>
          <cx:pt idx="657">-0.085186285431169004</cx:pt>
          <cx:pt idx="658">0.145634238940726</cx:pt>
          <cx:pt idx="659">-0.017550594361090199</cx:pt>
          <cx:pt idx="660">-0.0036018892594240001</cx:pt>
          <cx:pt idx="661">0.114559440294469</cx:pt>
          <cx:pt idx="662">-0.018568679315004801</cx:pt>
          <cx:pt idx="663">0.117086382596709</cx:pt>
          <cx:pt idx="664">0.0805681109420891</cx:pt>
          <cx:pt idx="665">0.083969662064993705</cx:pt>
          <cx:pt idx="666">-0.016872632925456099</cx:pt>
          <cx:pt idx="667">0.093813798766766293</cx:pt>
          <cx:pt idx="668">0.052267457153276298</cx:pt>
          <cx:pt idx="669">0.082838678136130398</cx:pt>
          <cx:pt idx="670">0.047370284170564603</cx:pt>
          <cx:pt idx="671">0.035003933081286603</cx:pt>
          <cx:pt idx="672">-0.074163469927021206</cx:pt>
          <cx:pt idx="673">0.13799458240793999</cx:pt>
          <cx:pt idx="674">0.055701066970546699</cx:pt>
          <cx:pt idx="675">0.0001829746290574</cx:pt>
          <cx:pt idx="676">0.0842160644966648</cx:pt>
          <cx:pt idx="677">-0.069313432154886598</cx:pt>
          <cx:pt idx="678">0.119072342281483</cx:pt>
          <cx:pt idx="679">0.082034253829054105</cx:pt>
          <cx:pt idx="680">0.057466571844392703</cx:pt>
          <cx:pt idx="681">0.039271132526591403</cx:pt>
          <cx:pt idx="682">0.0110182359840536</cx:pt>
          <cx:pt idx="683">0.081522233494386795</cx:pt>
          <cx:pt idx="684">0.104288972216211</cx:pt>
          <cx:pt idx="685">0.12640512301380899</cx:pt>
          <cx:pt idx="686">0.089731017721662296</cx:pt>
          <cx:pt idx="687">0.059128994789290498</cx:pt>
          <cx:pt idx="688">0.077354719510792702</cx:pt>
          <cx:pt idx="689">0.080311666234548898</cx:pt>
          <cx:pt idx="690">0.065971385219770806</cx:pt>
          <cx:pt idx="691">0.086901788001673697</cx:pt>
          <cx:pt idx="692">0.0196786122274418</cx:pt>
          <cx:pt idx="693">-0.036397124923041001</cx:pt>
          <cx:pt idx="694">0.015236713925635401</cx:pt>
          <cx:pt idx="695">-0.0089442896785393994</cx:pt>
          <cx:pt idx="696">0.073275198378195697</cx:pt>
          <cx:pt idx="697">0.081891137888082499</cx:pt>
          <cx:pt idx="698">0.10410638030368199</cx:pt>
          <cx:pt idx="699">0.11687378370804601</cx:pt>
          <cx:pt idx="700">0.145027183523665</cx:pt>
          <cx:pt idx="701">-0.0213464918108041</cx:pt>
          <cx:pt idx="702">-0.047969957870683803</cx:pt>
          <cx:pt idx="703">0.0016807738201420001</cx:pt>
          <cx:pt idx="704">0.020322067504202401</cx:pt>
          <cx:pt idx="705">0.042618254593316703</cx:pt>
          <cx:pt idx="706">0.146677479173524</cx:pt>
          <cx:pt idx="707">0.13491654303629699</cx:pt>
          <cx:pt idx="708">0.12665068043290401</cx:pt>
          <cx:pt idx="709">0.049851162311412102</cx:pt>
          <cx:pt idx="710">0.102439912879525</cx:pt>
          <cx:pt idx="711">0.062321031210539703</cx:pt>
          <cx:pt idx="712">-0.013453745746279401</cx:pt>
          <cx:pt idx="713">0.157615210170092</cx:pt>
          <cx:pt idx="714">-0.023054543744097902</cx:pt>
          <cx:pt idx="715">-0.049028370722134701</cx:pt>
          <cx:pt idx="716">0.121447456174977</cx:pt>
          <cx:pt idx="717">0.077106758482458002</cx:pt>
          <cx:pt idx="718">-0.0264248207555614</cx:pt>
          <cx:pt idx="719">-0.015017038450847999</cx:pt>
          <cx:pt idx="720">0.100932033702835</cx:pt>
          <cx:pt idx="721">0.081182913571505505</cx:pt>
          <cx:pt idx="722">0.080077738510710095</cx:pt>
          <cx:pt idx="723">0.072545498155965601</cx:pt>
          <cx:pt idx="724">0.0633055298116766</cx:pt>
          <cx:pt idx="725">0.070722948032308705</cx:pt>
          <cx:pt idx="726">0.099909020159580406</cx:pt>
          <cx:pt idx="727">0.039645498943390402</cx:pt>
          <cx:pt idx="728">0.084713709014081401</cx:pt>
          <cx:pt idx="729">0.114284938861591</cx:pt>
          <cx:pt idx="730">0.087551824904726405</cx:pt>
          <cx:pt idx="731">0.0079162437488494997</cx:pt>
          <cx:pt idx="732">0.129077763148779</cx:pt>
          <cx:pt idx="733">-0.020865518263621</cx:pt>
          <cx:pt idx="734">0.048581403543359901</cx:pt>
          <cx:pt idx="735">-0.080859998676935801</cx:pt>
          <cx:pt idx="736">-0.023512301919220199</cx:pt>
          <cx:pt idx="737">0.044363105058247802</cx:pt>
          <cx:pt idx="738">0.093862093402886607</cx:pt>
          <cx:pt idx="739">0.103649718646282</cx:pt>
          <cx:pt idx="740">0.044600878247117802</cx:pt>
          <cx:pt idx="741">0.033979545028666201</cx:pt>
          <cx:pt idx="742">0.089059032031648097</cx:pt>
          <cx:pt idx="743">0.039868770816027098</cx:pt>
          <cx:pt idx="744">0.044005081839111497</cx:pt>
          <cx:pt idx="745">0.0266023291024663</cx:pt>
          <cx:pt idx="746">-0.068262127580818899</cx:pt>
          <cx:pt idx="747">-0.10037880645425799</cx:pt>
          <cx:pt idx="748">-0.069007837362392702</cx:pt>
          <cx:pt idx="749">-0.064894517553446801</cx:pt>
          <cx:pt idx="750">-0.095852777478872303</cx:pt>
          <cx:pt idx="751">0.0787762134761818</cx:pt>
          <cx:pt idx="752">0.112657522756964</cx:pt>
          <cx:pt idx="753">0.065210415500163599</cx:pt>
          <cx:pt idx="754">-0.0150710778972237</cx:pt>
          <cx:pt idx="755">0.093398264739020395</cx:pt>
          <cx:pt idx="756">-0.018901767165997198</cx:pt>
          <cx:pt idx="757">-0.054583983751034001</cx:pt>
          <cx:pt idx="758">0.013923544871086199</cx:pt>
          <cx:pt idx="759">0.00076959794110879995</cx:pt>
          <cx:pt idx="760">0.0095854245143930008</cx:pt>
          <cx:pt idx="761">0.075240644421399494</cx:pt>
          <cx:pt idx="762">0.092935546907681299</cx:pt>
          <cx:pt idx="763">0.0039096821921951004</cx:pt>
          <cx:pt idx="764">0.12467352331495</cx:pt>
          <cx:pt idx="765">0.122939700813259</cx:pt>
          <cx:pt idx="766">0.158113380637708</cx:pt>
          <cx:pt idx="767">-0.066693707981092795</cx:pt>
          <cx:pt idx="768">0.056402565892011397</cx:pt>
          <cx:pt idx="769">-0.117536557199</cx:pt>
          <cx:pt idx="770">0.123542008896596</cx:pt>
          <cx:pt idx="771">0.151581681579917</cx:pt>
          <cx:pt idx="772">0.118254557203294</cx:pt>
          <cx:pt idx="773">0.0145020434439945</cx:pt>
          <cx:pt idx="774">-0.093246970090981096</cx:pt>
          <cx:pt idx="775">0.103957144632087</cx:pt>
          <cx:pt idx="776">0.061843499865966302</cx:pt>
          <cx:pt idx="777">0.096705529379076602</cx:pt>
          <cx:pt idx="778">-0.064505306303832999</cx:pt>
          <cx:pt idx="779">0.073908988939891895</cx:pt>
          <cx:pt idx="780">0.0990313156871514</cx:pt>
          <cx:pt idx="781">-0.0034535168714202001</cx:pt>
          <cx:pt idx="782">0.122663212517038</cx:pt>
          <cx:pt idx="783">0.11625383825628501</cx:pt>
          <cx:pt idx="784">0.030894636780743299</cx:pt>
          <cx:pt idx="785">0.10120519281410501</cx:pt>
          <cx:pt idx="786">0.017151362604945299</cx:pt>
          <cx:pt idx="787">0.079677524993664595</cx:pt>
          <cx:pt idx="788">0.107355441655376</cx:pt>
          <cx:pt idx="789">0.035742821248460302</cx:pt>
          <cx:pt idx="790">0.108743768676884</cx:pt>
          <cx:pt idx="791">0.096194847559538596</cx:pt>
          <cx:pt idx="792">0.173363495142871</cx:pt>
          <cx:pt idx="793">0.082115706947604894</cx:pt>
          <cx:pt idx="794">0.14678864700497099</cx:pt>
          <cx:pt idx="795">0.100412120509613</cx:pt>
          <cx:pt idx="796">0.0067854785032010999</cx:pt>
          <cx:pt idx="797">0.112035893726969</cx:pt>
          <cx:pt idx="798">0.089648865541679001</cx:pt>
          <cx:pt idx="799">0.098261394640136196</cx:pt>
          <cx:pt idx="800">-0.106889049416205</cx:pt>
          <cx:pt idx="801">-0.0070674342111618996</cx:pt>
          <cx:pt idx="802">0.101522066596131</cx:pt>
          <cx:pt idx="803">0.0035693617164426999</cx:pt>
          <cx:pt idx="804">-0.033481119515707897</cx:pt>
          <cx:pt idx="805">0.083452986619168598</cx:pt>
          <cx:pt idx="806">0.10614856327873499</cx:pt>
          <cx:pt idx="807">0.0045573333194461997</cx:pt>
          <cx:pt idx="808">0.094094375835459904</cx:pt>
          <cx:pt idx="809">0.046426033689056498</cx:pt>
          <cx:pt idx="810">0.0078532811580065993</cx:pt>
          <cx:pt idx="811">0.061058925253926803</cx:pt>
          <cx:pt idx="812">0.0969787368590488</cx:pt>
          <cx:pt idx="813">0.098645588307201104</cx:pt>
          <cx:pt idx="814">0.11372678752493</cx:pt>
          <cx:pt idx="815">0.114926311828131</cx:pt>
          <cx:pt idx="816">-0.0140335172855499</cx:pt>
          <cx:pt idx="817">0.043717775425618798</cx:pt>
          <cx:pt idx="818">0.12385968194409699</cx:pt>
          <cx:pt idx="819">0.15268040297725299</cx:pt>
          <cx:pt idx="820">0.089415585361512798</cx:pt>
          <cx:pt idx="821">-0.116363390971991</cx:pt>
          <cx:pt idx="822">-0.105911234740609</cx:pt>
          <cx:pt idx="823">0.091181642303190993</cx:pt>
          <cx:pt idx="824">-0.077800078867530501</cx:pt>
          <cx:pt idx="825">0.117141031295432</cx:pt>
          <cx:pt idx="826">0.0084956551947893005</cx:pt>
          <cx:pt idx="827">-0.158197829453817</cx:pt>
          <cx:pt idx="828">0.056899831330265403</cx:pt>
          <cx:pt idx="829">0.0469356154691263</cx:pt>
          <cx:pt idx="830">0.0912741140304721</cx:pt>
          <cx:pt idx="831">0.083235090913717905</cx:pt>
          <cx:pt idx="832">-0.37754134837938602</cx:pt>
          <cx:pt idx="833">0.076432954108988094</cx:pt>
          <cx:pt idx="834">0.068801499971944499</cx:pt>
          <cx:pt idx="835">0.046986792454412799</cx:pt>
          <cx:pt idx="836">-0.068241494122280297</cx:pt>
          <cx:pt idx="837">-0.066523418235292703</cx:pt>
          <cx:pt idx="838">-0.031848572189259898</cx:pt>
          <cx:pt idx="839">-0.0251734982392765</cx:pt>
          <cx:pt idx="840">0.0899305441596078</cx:pt>
          <cx:pt idx="841">-0.027517972630946699</cx:pt>
          <cx:pt idx="842">-0.092421072595789702</cx:pt>
          <cx:pt idx="843">0.13446222469501001</cx:pt>
          <cx:pt idx="844">0.12364930925300401</cx:pt>
          <cx:pt idx="845">0.076970305671884995</cx:pt>
          <cx:pt idx="846">-0.0132943324240702</cx:pt>
          <cx:pt idx="847">0.0114838213199349</cx:pt>
          <cx:pt idx="848">0.052177340285152002</cx:pt>
          <cx:pt idx="849">0.015616782801897201</cx:pt>
          <cx:pt idx="850">0.013385523939682301</cx:pt>
          <cx:pt idx="851">0.033226613978182599</cx:pt>
          <cx:pt idx="852">-0.014260510110853501</cx:pt>
          <cx:pt idx="853">-0.062064156076424098</cx:pt>
          <cx:pt idx="854">0.075095857545411607</cx:pt>
          <cx:pt idx="855">0.047783166600625399</cx:pt>
          <cx:pt idx="856">0.090528121702560096</cx:pt>
          <cx:pt idx="857">-0.017524986766815302</cx:pt>
          <cx:pt idx="858">-0.047465816626350701</cx:pt>
          <cx:pt idx="859">0.117790213429604</cx:pt>
          <cx:pt idx="860">0.0036753289306065001</cx:pt>
          <cx:pt idx="861">0.071572927021830907</cx:pt>
          <cx:pt idx="862">0.100069057641991</cx:pt>
          <cx:pt idx="863">0.0280399360849721</cx:pt>
          <cx:pt idx="864">0.073554142731030295</cx:pt>
          <cx:pt idx="865">0.079930559724530004</cx:pt>
          <cx:pt idx="866">0.13096812800604399</cx:pt>
          <cx:pt idx="867">-0.16301160695151301</cx:pt>
          <cx:pt idx="868">-0.038564091042735497</cx:pt>
          <cx:pt idx="869">0.095425530693523802</cx:pt>
          <cx:pt idx="870">0.11689263689816499</cx:pt>
          <cx:pt idx="871">0.069632582011624602</cx:pt>
          <cx:pt idx="872">0.040772775570349501</cx:pt>
          <cx:pt idx="873">0.082362995682554396</cx:pt>
          <cx:pt idx="874">0.090144348034336297</cx:pt>
          <cx:pt idx="875">-0.092159565081111505</cx:pt>
          <cx:pt idx="876">-0.027160152645856198</cx:pt>
          <cx:pt idx="877">0.102293839520934</cx:pt>
          <cx:pt idx="878">0.093084482350678302</cx:pt>
          <cx:pt idx="879">0.128428244067644</cx:pt>
          <cx:pt idx="880">0.139895714414806</cx:pt>
          <cx:pt idx="881">0.0282480759508601</cx:pt>
          <cx:pt idx="882">-0.030677997884066201</cx:pt>
          <cx:pt idx="883">0.079406385761613102</cx:pt>
          <cx:pt idx="884">-0.0118826647034789</cx:pt>
          <cx:pt idx="885">0.016921576495816</cx:pt>
          <cx:pt idx="886">0.038700599931567797</cx:pt>
          <cx:pt idx="887">0.14411138718990901</cx:pt>
          <cx:pt idx="888">0.0280132201267815</cx:pt>
          <cx:pt idx="889">0.0057539742339727997</cx:pt>
          <cx:pt idx="890">0.098960728618907604</cx:pt>
          <cx:pt idx="891">0.074680023755155006</cx:pt>
          <cx:pt idx="892">0.14399784862276099</cx:pt>
          <cx:pt idx="893">0.056372411830727401</cx:pt>
          <cx:pt idx="894">0.050917332615911803</cx:pt>
          <cx:pt idx="895">0.092864150927461905</cx:pt>
          <cx:pt idx="896">-0.093207776723696706</cx:pt>
          <cx:pt idx="897">-0.021337326136936199</cx:pt>
          <cx:pt idx="898">-0.092938944028407106</cx:pt>
          <cx:pt idx="899">0.070972687865462306</cx:pt>
          <cx:pt idx="900">0.087242533777167494</cx:pt>
          <cx:pt idx="901">0.13591948460789599</cx:pt>
          <cx:pt idx="902">0.137485408368754</cx:pt>
          <cx:pt idx="903">-0.0085711514484034992</cx:pt>
          <cx:pt idx="904">0.12268762786998499</cx:pt>
          <cx:pt idx="905">0.060695189514730297</cx:pt>
          <cx:pt idx="906">0.084763644569504595</cx:pt>
          <cx:pt idx="907">-0.0207508913108179</cx:pt>
          <cx:pt idx="908">0.0813092861539879</cx:pt>
          <cx:pt idx="909">-0.12605828699159399</cx:pt>
          <cx:pt idx="910">0.081443370183409303</cx:pt>
          <cx:pt idx="911">0.036156054065728097</cx:pt>
          <cx:pt idx="912">0.089935375680003302</cx:pt>
          <cx:pt idx="913">0.111679192700152</cx:pt>
          <cx:pt idx="914">-0.0402927837603076</cx:pt>
          <cx:pt idx="915">0.119965538221425</cx:pt>
          <cx:pt idx="916">0.089235270771381603</cx:pt>
          <cx:pt idx="917">0.071233608975033794</cx:pt>
          <cx:pt idx="918">0.088863399222949904</cx:pt>
          <cx:pt idx="919">-0.0010426026624724999</cx:pt>
          <cx:pt idx="920">0.055126327608112202</cx:pt>
          <cx:pt idx="921">0.109308208731308</cx:pt>
          <cx:pt idx="922">0.024226521690495099</cx:pt>
          <cx:pt idx="923">0.0095199326455364004</cx:pt>
          <cx:pt idx="924">-0.017188681061943399</cx:pt>
          <cx:pt idx="925">0.092383224602870004</cx:pt>
          <cx:pt idx="926">0.048288884719039499</cx:pt>
          <cx:pt idx="927">0.034860304552391599</cx:pt>
          <cx:pt idx="928">0.095193568275815404</cx:pt>
          <cx:pt idx="929">0.064921389809146399</cx:pt>
          <cx:pt idx="930">0.056903851972605397</cx:pt>
          <cx:pt idx="931">-0.016958521471195</cx:pt>
          <cx:pt idx="932">-0.098646479260292796</cx:pt>
          <cx:pt idx="933">0.080301389778613397</cx:pt>
          <cx:pt idx="934">0.0036195277010707002</cx:pt>
          <cx:pt idx="935">-0.094463811561816394</cx:pt>
          <cx:pt idx="936">-0.11258355680776901</cx:pt>
          <cx:pt idx="937">-0.039647218612124398</cx:pt>
          <cx:pt idx="938">0.175146867734292</cx:pt>
          <cx:pt idx="939">0.0109714751881093</cx:pt>
          <cx:pt idx="940">-0.027462383401075801</cx:pt>
          <cx:pt idx="941">0.084504644532631304</cx:pt>
          <cx:pt idx="942">0.032751585571514301</cx:pt>
          <cx:pt idx="943">-0.088444570942669595</cx:pt>
          <cx:pt idx="944">-0.010517978166952401</cx:pt>
          <cx:pt idx="945">0.099606837347316998</cx:pt>
          <cx:pt idx="946">0.047273390146814503</cx:pt>
          <cx:pt idx="947">0.076816304356099097</cx:pt>
          <cx:pt idx="948">0.012473146216999499</cx:pt>
          <cx:pt idx="949">-0.075440661142483698</cx:pt>
          <cx:pt idx="950">-0.063458776342274398</cx:pt>
          <cx:pt idx="951">-0.034125484197001697</cx:pt>
          <cx:pt idx="952">0.13651730084859701</cx:pt>
          <cx:pt idx="953">0.10165801289659</cx:pt>
          <cx:pt idx="954">-0.055479399773334201</cx:pt>
          <cx:pt idx="955">-0.092765747547101998</cx:pt>
          <cx:pt idx="956">0.076311991341016003</cx:pt>
          <cx:pt idx="957">0.090634874551910397</cx:pt>
          <cx:pt idx="958">0.107638845745623</cx:pt>
          <cx:pt idx="959">0.026167775489378799</cx:pt>
          <cx:pt idx="960">-0.038319238336562297</cx:pt>
          <cx:pt idx="961">0.130392909891487</cx:pt>
          <cx:pt idx="962">-0.031659976705806801</cx:pt>
          <cx:pt idx="963">0.110738157716506</cx:pt>
          <cx:pt idx="964">-0.0019422313608987</cx:pt>
          <cx:pt idx="965">0.114366732662026</cx:pt>
          <cx:pt idx="966">0.0310534409720407</cx:pt>
          <cx:pt idx="967">0.084633068100673503</cx:pt>
          <cx:pt idx="968">0.0504365759515428</cx:pt>
          <cx:pt idx="969">0.074232608266550204</cx:pt>
          <cx:pt idx="970">-0.14573256796321599</cx:pt>
          <cx:pt idx="971">0.0011325809016939001</cx:pt>
          <cx:pt idx="972">0.069041869928549396</cx:pt>
          <cx:pt idx="973">0.105642757934691</cx:pt>
          <cx:pt idx="974">-0.039404552175759201</cx:pt>
          <cx:pt idx="975">-0.037397496654398898</cx:pt>
          <cx:pt idx="976">0.057144182041882</cx:pt>
          <cx:pt idx="977">0.011156828048589499</cx:pt>
          <cx:pt idx="978">0.022554545036909499</cx:pt>
          <cx:pt idx="979">0.085818615545807095</cx:pt>
          <cx:pt idx="980">0.0124276168666064</cx:pt>
          <cx:pt idx="981">0.0573017451128401</cx:pt>
          <cx:pt idx="982">-0.0262849292508694</cx:pt>
          <cx:pt idx="983">-0.0046980307635471003</cx:pt>
          <cx:pt idx="984">0.116659862939499</cx:pt>
          <cx:pt idx="985">0.152859501633724</cx:pt>
          <cx:pt idx="986">0.026664883888196898</cx:pt>
          <cx:pt idx="987">0.023585239813152199</cx:pt>
          <cx:pt idx="988">-0.0127548692079469</cx:pt>
          <cx:pt idx="989">-0.044553576878738302</cx:pt>
          <cx:pt idx="990">0.089949878596976604</cx:pt>
          <cx:pt idx="991">-0.041858038905801802</cx:pt>
          <cx:pt idx="992">0.11530378089761301</cx:pt>
          <cx:pt idx="993">-0.022788462550372701</cx:pt>
          <cx:pt idx="994">0.065127683540565404</cx:pt>
          <cx:pt idx="995">0.036925287073450101</cx:pt>
          <cx:pt idx="996">0.15134434849044801</cx:pt>
          <cx:pt idx="997">0.091288241657916602</cx:pt>
          <cx:pt idx="998">-0.012051088523367301</cx:pt>
          <cx:pt idx="999">0.184638493714119</cx:pt>
          <cx:pt idx="1000">0.092958246611052495</cx:pt>
          <cx:pt idx="1001">0.00053475584703839996</cx:pt>
          <cx:pt idx="1002">-0.042135132853563698</cx:pt>
          <cx:pt idx="1003">0.144745562144135</cx:pt>
          <cx:pt idx="1004">0.061580352097117201</cx:pt>
          <cx:pt idx="1005">0.14675691290812601</cx:pt>
          <cx:pt idx="1006">0.113969962841623</cx:pt>
          <cx:pt idx="1007">0.11758959937609401</cx:pt>
          <cx:pt idx="1008">-0.0066807871889272997</cx:pt>
          <cx:pt idx="1009">0.16242874215031</cx:pt>
          <cx:pt idx="1010">0.071142191552721001</cx:pt>
          <cx:pt idx="1011">0.0138799313086509</cx:pt>
          <cx:pt idx="1012">0.0526141300029263</cx:pt>
          <cx:pt idx="1013">0.107438264117536</cx:pt>
          <cx:pt idx="1014">0.051980884895805803</cx:pt>
          <cx:pt idx="1015">0.057423655349948803</cx:pt>
          <cx:pt idx="1016">0.095516487044484205</cx:pt>
          <cx:pt idx="1017">0.022820830889471899</cx:pt>
          <cx:pt idx="1018">-0.059084530784698101</cx:pt>
          <cx:pt idx="1019">0.154336914372872</cx:pt>
          <cx:pt idx="1020">0.13409004027055901</cx:pt>
          <cx:pt idx="1021">0.041481835971769</cx:pt>
          <cx:pt idx="1022">0.106143416810884</cx:pt>
          <cx:pt idx="1023">-0.26604371628326801</cx:pt>
          <cx:pt idx="1024">-0.0063119623764240004</cx:pt>
          <cx:pt idx="1025">0.14250706795006399</cx:pt>
          <cx:pt idx="1026">0.057693170083047703</cx:pt>
          <cx:pt idx="1027">0.030995315784171099</cx:pt>
          <cx:pt idx="1028">-0.029321955369706901</cx:pt>
          <cx:pt idx="1029">-0.0029176168025563001</cx:pt>
          <cx:pt idx="1030">0.15908320158265499</cx:pt>
          <cx:pt idx="1031">0.0190984309613954</cx:pt>
          <cx:pt idx="1032">0.0301177675639424</cx:pt>
          <cx:pt idx="1033">0.028227920297569799</cx:pt>
          <cx:pt idx="1034">0.070172081002916498</cx:pt>
          <cx:pt idx="1035">0.102221128726636</cx:pt>
          <cx:pt idx="1036">0.112425216213472</cx:pt>
          <cx:pt idx="1037">0.062598747516642406</cx:pt>
          <cx:pt idx="1038">-0.029863564165461199</cx:pt>
          <cx:pt idx="1039">0.0226388295118507</cx:pt>
          <cx:pt idx="1040">0.086207587274893901</cx:pt>
          <cx:pt idx="1041">0.107943000682477</cx:pt>
          <cx:pt idx="1042">0.0012039050227237</cx:pt>
          <cx:pt idx="1043">0.090325747443582502</cx:pt>
          <cx:pt idx="1044">0.077327345280122195</cx:pt>
          <cx:pt idx="1045">-0.018324155654446599</cx:pt>
          <cx:pt idx="1046">-0.087000633736922905</cx:pt>
          <cx:pt idx="1047">0.14344334497074401</cx:pt>
          <cx:pt idx="1048">0.035354977433236699</cx:pt>
          <cx:pt idx="1049">0.033798027321690197</cx:pt>
          <cx:pt idx="1050">-0.039641570688151703</cx:pt>
          <cx:pt idx="1051">-0.0169997790874587</cx:pt>
          <cx:pt idx="1052">0.066045561193834507</cx:pt>
          <cx:pt idx="1053">0.159672122979652</cx:pt>
          <cx:pt idx="1054">0.094952263010139801</cx:pt>
          <cx:pt idx="1055">0.0056075453899990003</cx:pt>
          <cx:pt idx="1056">-0.040290524845864401</cx:pt>
          <cx:pt idx="1057">0.14074288650906799</cx:pt>
          <cx:pt idx="1058">0.0066784616506387999</cx:pt>
          <cx:pt idx="1059">0.022137653546761001</cx:pt>
          <cx:pt idx="1060">0.169406599997033</cx:pt>
          <cx:pt idx="1061">0.081901761893096905</cx:pt>
          <cx:pt idx="1062">0.0341875577528752</cx:pt>
          <cx:pt idx="1063">0.0090345581437091</cx:pt>
          <cx:pt idx="1064">-0.089771073257481099</cx:pt>
          <cx:pt idx="1065">0.0097108067636733995</cx:pt>
          <cx:pt idx="1066">0.121936803405001</cx:pt>
          <cx:pt idx="1067">0.057568492684249399</cx:pt>
          <cx:pt idx="1068">0.075786599901075002</cx:pt>
          <cx:pt idx="1069">-0.089497574241421393</cx:pt>
          <cx:pt idx="1070">0.10087844023643899</cx:pt>
          <cx:pt idx="1071">0.064279902724888399</cx:pt>
          <cx:pt idx="1072">0.100777253554135</cx:pt>
          <cx:pt idx="1073">0.043392800187884897</cx:pt>
          <cx:pt idx="1074">0.104102519227945</cx:pt>
          <cx:pt idx="1075">-0.044877984522806599</cx:pt>
          <cx:pt idx="1076">0.052246914767001502</cx:pt>
          <cx:pt idx="1077">0.062903051869815194</cx:pt>
          <cx:pt idx="1078">-0.047050539363989403</cx:pt>
          <cx:pt idx="1079">0.0274054210647986</cx:pt>
          <cx:pt idx="1080">0.079552086845946293</cx:pt>
          <cx:pt idx="1081">-0.14574480916149299</cx:pt>
          <cx:pt idx="1082">0.15570936294663201</cx:pt>
          <cx:pt idx="1083">0.051928109983421497</cx:pt>
          <cx:pt idx="1084">0.095744488184209095</cx:pt>
          <cx:pt idx="1085">0.035889338048789597</cx:pt>
          <cx:pt idx="1086">0.073654623048504494</cx:pt>
          <cx:pt idx="1087">0.039684309994805003</cx:pt>
          <cx:pt idx="1088">-0.0258384793336995</cx:pt>
          <cx:pt idx="1089">-0.0028954794942663</cx:pt>
          <cx:pt idx="1090">0.022308730330460699</cx:pt>
          <cx:pt idx="1091">-0.074733313812920601</cx:pt>
          <cx:pt idx="1092">0.111163355324471</cx:pt>
          <cx:pt idx="1093">-0.093931277859416698</cx:pt>
          <cx:pt idx="1094">0.0697216819401585</cx:pt>
          <cx:pt idx="1095">0.059633790713385398</cx:pt>
          <cx:pt idx="1096">0.10128624313212301</cx:pt>
          <cx:pt idx="1097">0.084515174874792501</cx:pt>
          <cx:pt idx="1098">0.063023137537570995</cx:pt>
          <cx:pt idx="1099">-0.033673552602656497</cx:pt>
          <cx:pt idx="1100">0.046383391060810998</cx:pt>
          <cx:pt idx="1101">0.0219335350765947</cx:pt>
          <cx:pt idx="1102">0.046629349104346199</cx:pt>
          <cx:pt idx="1103">-0.0049117488400101002</cx:pt>
          <cx:pt idx="1104">0.043147955961914203</cx:pt>
          <cx:pt idx="1105">0.087838102963185394</cx:pt>
          <cx:pt idx="1106">0.052595326385239699</cx:pt>
          <cx:pt idx="1107">-0.061163790222944797</cx:pt>
          <cx:pt idx="1108">-0.059841900359755201</cx:pt>
          <cx:pt idx="1109">0.020363150110976301</cx:pt>
          <cx:pt idx="1110">0.051021708183621797</cx:pt>
          <cx:pt idx="1111">0.079777316797447997</cx:pt>
          <cx:pt idx="1112">0.171317782633402</cx:pt>
          <cx:pt idx="1113">0.077605009779618095</cx:pt>
          <cx:pt idx="1114">0.10568187593556699</cx:pt>
          <cx:pt idx="1115">0.045849799169116197</cx:pt>
          <cx:pt idx="1116">0.062243505029740298</cx:pt>
          <cx:pt idx="1117">0.0015391861492505001</cx:pt>
          <cx:pt idx="1118">-0.0326030560327073</cx:pt>
          <cx:pt idx="1119">0.049375901602089101</cx:pt>
          <cx:pt idx="1120">0.13970926701001901</cx:pt>
          <cx:pt idx="1121">-0.0135810381182633</cx:pt>
          <cx:pt idx="1122">0.0045122738832455997</cx:pt>
          <cx:pt idx="1123">0.063648892689572301</cx:pt>
          <cx:pt idx="1124">-0.020658917055841299</cx:pt>
          <cx:pt idx="1125">0.104208738551956</cx:pt>
          <cx:pt idx="1126">0.045502990469515697</cx:pt>
          <cx:pt idx="1127">0.095743517152437202</cx:pt>
          <cx:pt idx="1128">-0.031324900526609897</cx:pt>
          <cx:pt idx="1129">0.031561334317839203</cx:pt>
          <cx:pt idx="1130">0.11433740490142</cx:pt>
          <cx:pt idx="1131">0.14891933499881399</cx:pt>
          <cx:pt idx="1132">0.043305747972744203</cx:pt>
          <cx:pt idx="1133">-0.033377685791246101</cx:pt>
          <cx:pt idx="1134">0.12702716702456199</cx:pt>
          <cx:pt idx="1135">0.0483626048818643</cx:pt>
          <cx:pt idx="1136">-0.031497333793599702</cx:pt>
          <cx:pt idx="1137">-0.0115825988181008</cx:pt>
          <cx:pt idx="1138">-0.070321282113110603</cx:pt>
          <cx:pt idx="1139">-0.0184646395055202</cx:pt>
          <cx:pt idx="1140">-0.0040332634472347003</cx:pt>
          <cx:pt idx="1141">-0.024797185378140501</cx:pt>
          <cx:pt idx="1142">0.0196555605554419</cx:pt>
          <cx:pt idx="1143">0.035114437136237402</cx:pt>
          <cx:pt idx="1144">0.14651863579910801</cx:pt>
          <cx:pt idx="1145">0.119510504795004</cx:pt>
          <cx:pt idx="1146">0.10439781370616</cx:pt>
          <cx:pt idx="1147">0.097202728080009598</cx:pt>
          <cx:pt idx="1148">0.13113209424786601</cx:pt>
          <cx:pt idx="1149">-0.13454046526960001</cx:pt>
          <cx:pt idx="1150">0.034323454905866899</cx:pt>
          <cx:pt idx="1151">0.043779342147991902</cx:pt>
          <cx:pt idx="1152">0.078067652572914203</cx:pt>
          <cx:pt idx="1153">0.103101748888619</cx:pt>
          <cx:pt idx="1154">-0.022743799039002199</cx:pt>
          <cx:pt idx="1155">0.073784017427441201</cx:pt>
          <cx:pt idx="1156">0.12429027609634</cx:pt>
          <cx:pt idx="1157">0.095200197354565502</cx:pt>
          <cx:pt idx="1158">0.14358441788346701</cx:pt>
          <cx:pt idx="1159">0.16810394360808001</cx:pt>
          <cx:pt idx="1160">0.080170410088389807</cx:pt>
          <cx:pt idx="1161">0.061248907115891899</cx:pt>
          <cx:pt idx="1162">-0.0015571600497661</cx:pt>
          <cx:pt idx="1163">0.0429582633045833</cx:pt>
          <cx:pt idx="1164">0.078910572297862899</cx:pt>
          <cx:pt idx="1165">0.065718718458858794</cx:pt>
          <cx:pt idx="1166">-0.0095687794463823993</cx:pt>
          <cx:pt idx="1167">-0.021782624209006</cx:pt>
          <cx:pt idx="1168">0.070191399383144198</cx:pt>
          <cx:pt idx="1169">0.086164423344967794</cx:pt>
          <cx:pt idx="1170">0.094536116997725197</cx:pt>
          <cx:pt idx="1171">0.042921596757692602</cx:pt>
          <cx:pt idx="1172">0.13167299814010699</cx:pt>
          <cx:pt idx="1173">0.044268085683481402</cx:pt>
          <cx:pt idx="1174">0.060625237841433997</cx:pt>
          <cx:pt idx="1175">0.071101405867102299</cx:pt>
          <cx:pt idx="1176">0.122784094422473</cx:pt>
          <cx:pt idx="1177">-0.0072846577617054001</cx:pt>
          <cx:pt idx="1178">0.093639035821716496</cx:pt>
          <cx:pt idx="1179">0.13827999202968999</cx:pt>
          <cx:pt idx="1180">-0.031540289817171302</cx:pt>
          <cx:pt idx="1181">0.154630326417312</cx:pt>
          <cx:pt idx="1182">0.13359812242345701</cx:pt>
          <cx:pt idx="1183">0.12671835458446301</cx:pt>
          <cx:pt idx="1184">-0.030306901101302901</cx:pt>
          <cx:pt idx="1185">0.092563592024496003</cx:pt>
          <cx:pt idx="1186">-0.047042803530525097</cx:pt>
          <cx:pt idx="1187">-0.153560130924835</cx:pt>
          <cx:pt idx="1188">0.062332632539516299</cx:pt>
          <cx:pt idx="1189">0.036076460805316499</cx:pt>
          <cx:pt idx="1190">0.098031453224329101</cx:pt>
          <cx:pt idx="1191">0.070547743858338896</cx:pt>
          <cx:pt idx="1192">0.0079290469061154001</cx:pt>
          <cx:pt idx="1193">0.18443351577022599</cx:pt>
          <cx:pt idx="1194">-0.0151103248448347</cx:pt>
          <cx:pt idx="1195">-0.0123809009711937</cx:pt>
          <cx:pt idx="1196">0.096068100519843505</cx:pt>
          <cx:pt idx="1197">0.053601535464482701</cx:pt>
          <cx:pt idx="1198">-0.0013981369496128999</cx:pt>
          <cx:pt idx="1199">0.13085547150393001</cx:pt>
          <cx:pt idx="1200">0.074508486038508598</cx:pt>
          <cx:pt idx="1201">0.0426632020038403</cx:pt>
          <cx:pt idx="1202">0.053721597755374502</cx:pt>
          <cx:pt idx="1203">-0.0218862849996285</cx:pt>
          <cx:pt idx="1204">0.052430966631439598</cx:pt>
          <cx:pt idx="1205">0.084241358035764602</cx:pt>
          <cx:pt idx="1206">0.096379140959698198</cx:pt>
          <cx:pt idx="1207">0.0050356658490473003</cx:pt>
          <cx:pt idx="1208">0.072659905176664499</cx:pt>
          <cx:pt idx="1209">-0.0098121729981422001</cx:pt>
          <cx:pt idx="1210">0.159283945210029</cx:pt>
          <cx:pt idx="1211">0.062446659551846903</cx:pt>
          <cx:pt idx="1212">0.106456912311636</cx:pt>
          <cx:pt idx="1213">-0.081153045266285098</cx:pt>
          <cx:pt idx="1214">-0.018956976606153999</cx:pt>
          <cx:pt idx="1215">0.041998068099007302</cx:pt>
          <cx:pt idx="1216">0.087207212160172701</cx:pt>
          <cx:pt idx="1217">0.072613999237333096</cx:pt>
          <cx:pt idx="1218">0.014180440450699799</cx:pt>
          <cx:pt idx="1219">0.067259684449371804</cx:pt>
          <cx:pt idx="1220">0.062479030188731501</cx:pt>
          <cx:pt idx="1221">-0.060569158820354199</cx:pt>
          <cx:pt idx="1222">0.099746927811473998</cx:pt>
          <cx:pt idx="1223">-0.030959318415368701</cx:pt>
          <cx:pt idx="1224">0.082289072743439801</cx:pt>
          <cx:pt idx="1225">0.069361337210385898</cx:pt>
          <cx:pt idx="1226">-0.051824068751214397</cx:pt>
          <cx:pt idx="1227">0.0355195028954777</cx:pt>
          <cx:pt idx="1228">-0.027093626428325</cx:pt>
          <cx:pt idx="1229">-0.13390965316089901</cx:pt>
          <cx:pt idx="1230">0.10288429605734099</cx:pt>
          <cx:pt idx="1231">0.0050749050287322997</cx:pt>
          <cx:pt idx="1232">0.090901266007515094</cx:pt>
          <cx:pt idx="1233">-0.011218874567292999</cx:pt>
          <cx:pt idx="1234">0.011823423247827199</cx:pt>
          <cx:pt idx="1235">0.062216754964915397</cx:pt>
          <cx:pt idx="1236">-0.072390695318348894</cx:pt>
          <cx:pt idx="1237">0.183902263840864</cx:pt>
          <cx:pt idx="1238">-0.021250241399065301</cx:pt>
          <cx:pt idx="1239">0.094455829843092406</cx:pt>
          <cx:pt idx="1240">0.0298026761687013</cx:pt>
          <cx:pt idx="1241">0.15476432763718301</cx:pt>
          <cx:pt idx="1242">0.0536237385877694</cx:pt>
          <cx:pt idx="1243">0.107851944758362</cx:pt>
          <cx:pt idx="1244">0.026900105244031001</cx:pt>
          <cx:pt idx="1245">0.141484093992751</cx:pt>
          <cx:pt idx="1246">-0.060558035105519201</cx:pt>
          <cx:pt idx="1247">0.103823916628871</cx:pt>
          <cx:pt idx="1248">0.087134194066693094</cx:pt>
          <cx:pt idx="1249">0.097670065765451494</cx:pt>
          <cx:pt idx="1250">-0.042404881673190002</cx:pt>
          <cx:pt idx="1251">-0.083164872789497093</cx:pt>
          <cx:pt idx="1252">-0.071975891926370494</cx:pt>
          <cx:pt idx="1253">0.062269706481279802</cx:pt>
          <cx:pt idx="1254">0.083046019804356094</cx:pt>
          <cx:pt idx="1255">-0.058974410177724298</cx:pt>
          <cx:pt idx="1256">0.0553907398375394</cx:pt>
          <cx:pt idx="1257">-0.0048058564616685999</cx:pt>
          <cx:pt idx="1258">0.044070670983409603</cx:pt>
          <cx:pt idx="1259">0.11072136894993501</cx:pt>
          <cx:pt idx="1260">0.0499406038362806</cx:pt>
          <cx:pt idx="1261">0.063105315086396205</cx:pt>
          <cx:pt idx="1262">0.102565513514133</cx:pt>
          <cx:pt idx="1263">-0.051918085279952099</cx:pt>
          <cx:pt idx="1264">0.074929290772125498</cx:pt>
          <cx:pt idx="1265">0.030150688196133001</cx:pt>
          <cx:pt idx="1266">0.011161715760546601</cx:pt>
          <cx:pt idx="1267">-0.011412599434415501</cx:pt>
          <cx:pt idx="1268">0.095928897101184393</cx:pt>
          <cx:pt idx="1269">-0.068589042154639901</cx:pt>
          <cx:pt idx="1270">0.0556684273744152</cx:pt>
          <cx:pt idx="1271">0.0029437317461185998</cx:pt>
          <cx:pt idx="1272">-0.0101539935605649</cx:pt>
          <cx:pt idx="1273">-0.0131947706887718</cx:pt>
          <cx:pt idx="1274">0.10523725223592401</cx:pt>
          <cx:pt idx="1275">0.13733870722376801</cx:pt>
          <cx:pt idx="1276">0.12503109751646799</cx:pt>
          <cx:pt idx="1277">0.093551977641641096</cx:pt>
          <cx:pt idx="1278">-0.014900023775202101</cx:pt>
          <cx:pt idx="1279">-0.0289091130243944</cx:pt>
          <cx:pt idx="1280">-0.10207342902493</cx:pt>
          <cx:pt idx="1281">0.085690155675076193</cx:pt>
          <cx:pt idx="1282">0.17638132238951401</cx:pt>
          <cx:pt idx="1283">0.0807925476374865</cx:pt>
          <cx:pt idx="1284">0.040206495309156501</cx:pt>
          <cx:pt idx="1285">0.118734850130037</cx:pt>
          <cx:pt idx="1286">0.13446997641746999</cx:pt>
          <cx:pt idx="1287">0.027288668892284099</cx:pt>
          <cx:pt idx="1288">0.032372692677473502</cx:pt>
          <cx:pt idx="1289">-0.062814731865950504</cx:pt>
          <cx:pt idx="1290">0.095534249981303193</cx:pt>
          <cx:pt idx="1291">0.15995672337189401</cx:pt>
          <cx:pt idx="1292">0.11225699742914</cx:pt>
          <cx:pt idx="1293">0.136473940256476</cx:pt>
          <cx:pt idx="1294">0.0540043290132017</cx:pt>
          <cx:pt idx="1295">-0.0777265178396392</cx:pt>
          <cx:pt idx="1296">0.118963240592981</cx:pt>
          <cx:pt idx="1297">0.0091685577013434008</cx:pt>
          <cx:pt idx="1298">-0.067749683021657597</cx:pt>
          <cx:pt idx="1299">-0.107986299623635</cx:pt>
          <cx:pt idx="1300">-0.061027917192217201</cx:pt>
          <cx:pt idx="1301">0.031735704686239402</cx:pt>
          <cx:pt idx="1302">0.089808068561927704</cx:pt>
          <cx:pt idx="1303">0.0013716062782582999</cx:pt>
          <cx:pt idx="1304">-0.035705297111255099</cx:pt>
          <cx:pt idx="1305">0.090837772278116402</cx:pt>
          <cx:pt idx="1306">0.093163665432281204</cx:pt>
          <cx:pt idx="1307">-0.087745773168309199</cx:pt>
          <cx:pt idx="1308">-0.019749406097360801</cx:pt>
          <cx:pt idx="1309">-0.0111635193949201</cx:pt>
          <cx:pt idx="1310">0.0070862522019406998</cx:pt>
          <cx:pt idx="1311">0.0166893895967378</cx:pt>
          <cx:pt idx="1312">0.100225351038788</cx:pt>
          <cx:pt idx="1313">0.011092017373653999</cx:pt>
          <cx:pt idx="1314">-0.066530764863137401</cx:pt>
          <cx:pt idx="1315">0.0183720642191714</cx:pt>
          <cx:pt idx="1316">0.083634617348008602</cx:pt>
          <cx:pt idx="1317">-0.044138244908547203</cx:pt>
          <cx:pt idx="1318">0.093937325750008002</cx:pt>
          <cx:pt idx="1319">0.061940402490363297</cx:pt>
          <cx:pt idx="1320">0.075447793755937298</cx:pt>
          <cx:pt idx="1321">-0.034740959446293102</cx:pt>
          <cx:pt idx="1322">0.112645330863684</cx:pt>
          <cx:pt idx="1323">0.0358878804674332</cx:pt>
          <cx:pt idx="1324">0.083542867153787101</cx:pt>
          <cx:pt idx="1325">0.0160025355448087</cx:pt>
          <cx:pt idx="1326">0.044724200703777403</cx:pt>
          <cx:pt idx="1327">-0.078300118270186805</cx:pt>
          <cx:pt idx="1328">0.038895155446583597</cx:pt>
          <cx:pt idx="1329">-0.13488191229913099</cx:pt>
          <cx:pt idx="1330">-0.031195019865323099</cx:pt>
          <cx:pt idx="1331">0.044521894704451802</cx:pt>
          <cx:pt idx="1332">0.037019660341729703</cx:pt>
          <cx:pt idx="1333">-0.021380282798916999</cx:pt>
          <cx:pt idx="1334">0.080913118030607203</cx:pt>
          <cx:pt idx="1335">0.0946591333814783</cx:pt>
          <cx:pt idx="1336">0.050077268275353699</cx:pt>
          <cx:pt idx="1337">-0.020909429011485601</cx:pt>
          <cx:pt idx="1338">-0.123080946671345</cx:pt>
          <cx:pt idx="1339">-0.032193447083937503</cx:pt>
          <cx:pt idx="1340">0.14022281481813001</cx:pt>
          <cx:pt idx="1341">0.065050025580992404</cx:pt>
          <cx:pt idx="1342">0.12759038592997701</cx:pt>
          <cx:pt idx="1343">0.058015672571045798</cx:pt>
          <cx:pt idx="1344">0.0526964123365374</cx:pt>
          <cx:pt idx="1345">0.074199985267284205</cx:pt>
          <cx:pt idx="1346">-0.074024768120938</cx:pt>
          <cx:pt idx="1347">-0.0276823342104302</cx:pt>
          <cx:pt idx="1348">0.0261330517255173</cx:pt>
          <cx:pt idx="1349">-0.0090705694062640993</cx:pt>
          <cx:pt idx="1350">-0.0192477789039299</cx:pt>
          <cx:pt idx="1351">-0.0079762909093732993</cx:pt>
          <cx:pt idx="1352">0.0485757945000534</cx:pt>
          <cx:pt idx="1353">0.15045969963709299</cx:pt>
          <cx:pt idx="1354">0.049612758365541902</cx:pt>
          <cx:pt idx="1355">0.076192376252650504</cx:pt>
          <cx:pt idx="1356">0.079943636972155896</cx:pt>
          <cx:pt idx="1357">-0.046290127585025598</cx:pt>
          <cx:pt idx="1358">0.039609539485242803</cx:pt>
          <cx:pt idx="1359">0.031426288283024899</cx:pt>
          <cx:pt idx="1360">0.037326649973882603</cx:pt>
          <cx:pt idx="1361">-0.0159514708557526</cx:pt>
          <cx:pt idx="1362">0.053872053280712297</cx:pt>
          <cx:pt idx="1363">-0.042094876498258098</cx:pt>
          <cx:pt idx="1364">0.089695274890429097</cx:pt>
          <cx:pt idx="1365">0.072587890725977294</cx:pt>
          <cx:pt idx="1366">0.074913197449003599</cx:pt>
          <cx:pt idx="1367">0.064782090652510296</cx:pt>
          <cx:pt idx="1368">0.031098948714309401</cx:pt>
          <cx:pt idx="1369">0.036729795618673997</cx:pt>
          <cx:pt idx="1370">0.11527841677367801</cx:pt>
          <cx:pt idx="1371">-0.0019940377811208001</cx:pt>
          <cx:pt idx="1372">0.045141634582660399</cx:pt>
          <cx:pt idx="1373">0.030829386950793999</cx:pt>
          <cx:pt idx="1374">-0.00037495573916110001</cx:pt>
          <cx:pt idx="1375">0.073661169964783293</cx:pt>
          <cx:pt idx="1376">-0.0025228865216711002</cx:pt>
          <cx:pt idx="1377">0.095126024597250197</cx:pt>
          <cx:pt idx="1378">-0.0239018217539958</cx:pt>
          <cx:pt idx="1379">0.12984446921635001</cx:pt>
          <cx:pt idx="1380">-0.049595519458392398</cx:pt>
          <cx:pt idx="1381">-0.086062236337650797</cx:pt>
          <cx:pt idx="1382">0.12545790427989001</cx:pt>
          <cx:pt idx="1383">0.042029103440920597</cx:pt>
          <cx:pt idx="1384">0.0154461829442177</cx:pt>
          <cx:pt idx="1385">-0.016664872032919501</cx:pt>
          <cx:pt idx="1386">-0.025762513413030201</cx:pt>
          <cx:pt idx="1387">0.12865954212848901</cx:pt>
          <cx:pt idx="1388">0.100372009655971</cx:pt>
          <cx:pt idx="1389">0.085489517566168002</cx:pt>
          <cx:pt idx="1390">-0.092482104079621305</cx:pt>
          <cx:pt idx="1391">-0.055596155160937299</cx:pt>
          <cx:pt idx="1392">0.0380230925214066</cx:pt>
          <cx:pt idx="1393">-0.0192615600747413</cx:pt>
          <cx:pt idx="1394">0.011170773627849399</cx:pt>
          <cx:pt idx="1395">0.097966573517016403</cx:pt>
          <cx:pt idx="1396">-0.063425908075198906</cx:pt>
          <cx:pt idx="1397">0.13044107743503</cx:pt>
          <cx:pt idx="1398">-0.013786854760542399</cx:pt>
          <cx:pt idx="1399">0.053006717229768602</cx:pt>
          <cx:pt idx="1400">0.13739655838720299</cx:pt>
          <cx:pt idx="1401">0.066205962314385594</cx:pt>
          <cx:pt idx="1402">0.0571124687421996</cx:pt>
          <cx:pt idx="1403">-0.160886334457011</cx:pt>
          <cx:pt idx="1404">-0.047050539363989403</cx:pt>
          <cx:pt idx="1405">-0.041060113217744297</cx:pt>
          <cx:pt idx="1406">0.041700012084168597</cx:pt>
          <cx:pt idx="1407">0.060521271621095503</cx:pt>
          <cx:pt idx="1408">0.062694417146149303</cx:pt>
          <cx:pt idx="1409">0.046839464633859698</cx:pt>
          <cx:pt idx="1410">-0.0099640403660857003</cx:pt>
          <cx:pt idx="1411">0.088495049083650995</cx:pt>
          <cx:pt idx="1412">0.092561007761153294</cx:pt>
          <cx:pt idx="1413">0.050131252442670797</cx:pt>
          <cx:pt idx="1414">0.038002614158008097</cx:pt>
          <cx:pt idx="1415">-0.023876690784051899</cx:pt>
          <cx:pt idx="1416">0.12263061007265499</cx:pt>
          <cx:pt idx="1417">0.13090983628952299</cx:pt>
          <cx:pt idx="1418">0.0545607340773651</cx:pt>
          <cx:pt idx="1419">0.053389775046871701</cx:pt>
          <cx:pt idx="1420">-0.076887776208049305</cx:pt>
          <cx:pt idx="1421">0.087566745181610298</cx:pt>
          <cx:pt idx="1422">0.054794747254649001</cx:pt>
          <cx:pt idx="1423">-0.026212127570026798</cx:pt>
          <cx:pt idx="1424">0.015073049831494699</cx:pt>
          <cx:pt idx="1425">0.0066290686071408004</cx:pt>
          <cx:pt idx="1426">-0.10151081059403901</cx:pt>
          <cx:pt idx="1427">0.017953119226849602</cx:pt>
          <cx:pt idx="1428">0.119802389257677</cx:pt>
          <cx:pt idx="1429">0.026066856582008999</cx:pt>
          <cx:pt idx="1430">0.056727691324940002</cx:pt>
          <cx:pt idx="1431">0.047611597643513803</cx:pt>
          <cx:pt idx="1432">0.127052117137158</cx:pt>
          <cx:pt idx="1433">-0.027152250287287599</cx:pt>
          <cx:pt idx="1434">-0.111128968343169</cx:pt>
          <cx:pt idx="1435">0.0404221567856261</cx:pt>
          <cx:pt idx="1436">0.098356664818903997</cx:pt>
          <cx:pt idx="1437">0.037382249499513999</cx:pt>
          <cx:pt idx="1438">0.026111537470511301</cx:pt>
          <cx:pt idx="1439">0.098854177318478106</cx:pt>
          <cx:pt idx="1440">0.14683344786776201</cx:pt>
          <cx:pt idx="1441">0.084696140319200697</cx:pt>
          <cx:pt idx="1442">0.077153259758469497</cx:pt>
          <cx:pt idx="1443">-0.045366139552073803</cx:pt>
          <cx:pt idx="1444">0.129460882161549</cx:pt>
          <cx:pt idx="1445">-0.098939499749860799</cx:pt>
          <cx:pt idx="1446">0.028589506201528499</cx:pt>
          <cx:pt idx="1447">0.0219359002200822</cx:pt>
          <cx:pt idx="1448">0.0071355761432472997</cx:pt>
          <cx:pt idx="1449">0.024978655918771599</cx:pt>
          <cx:pt idx="1450">0.087886983381689099</cx:pt>
          <cx:pt idx="1451">0.044667889823400801</cx:pt>
          <cx:pt idx="1452">0.0038830375998673001</cx:pt>
          <cx:pt idx="1453">-0.031005891516049398</cx:pt>
          <cx:pt idx="1454">-0.038988841915763697</cx:pt>
          <cx:pt idx="1455">0.039485795984754699</cx:pt>
          <cx:pt idx="1456">0.080629124851160194</cx:pt>
          <cx:pt idx="1457">0.089251945691232404</cx:pt>
          <cx:pt idx="1458">0.024638252928886301</cx:pt>
          <cx:pt idx="1459">0.068400024329661094</cx:pt>
          <cx:pt idx="1460">0.0179538850065128</cx:pt>
          <cx:pt idx="1461">0.16068703732351799</cx:pt>
          <cx:pt idx="1462">0.069067297704387506</cx:pt>
          <cx:pt idx="1463">0.0266692522767988</cx:pt>
          <cx:pt idx="1464">0.059431535491401302</cx:pt>
          <cx:pt idx="1465">0.018054923702684599</cx:pt>
          <cx:pt idx="1466">0.020855666949862801</cx:pt>
          <cx:pt idx="1467">0.034358197361609701</cx:pt>
          <cx:pt idx="1468">0.056557471653264503</cx:pt>
          <cx:pt idx="1469">0.011432343790743101</cx:pt>
          <cx:pt idx="1470">0.100396241281348</cx:pt>
          <cx:pt idx="1471">0.092617692128751303</cx:pt>
          <cx:pt idx="1472">-0.0286241875515027</cx:pt>
          <cx:pt idx="1473">0.045385860565825803</cx:pt>
          <cx:pt idx="1474">0.099177553843933397</cx:pt>
          <cx:pt idx="1475">0.108356367215855</cx:pt>
          <cx:pt idx="1476">-0.094405931064052803</cx:pt>
          <cx:pt idx="1477">0.101092588827708</cx:pt>
          <cx:pt idx="1478">0.159008893090614</cx:pt>
          <cx:pt idx="1479">-0.047829457207417402</cx:pt>
          <cx:pt idx="1480">0.085468487073610003</cx:pt>
          <cx:pt idx="1481">0.087793466856025501</cx:pt>
          <cx:pt idx="1482">0.13064110704242099</cx:pt>
          <cx:pt idx="1483">0.0906010403953416</cx:pt>
          <cx:pt idx="1484">-0.073682465543317602</cx:pt>
          <cx:pt idx="1485">0.102657365767671</cx:pt>
          <cx:pt idx="1486">-0.0094896594439307994</cx:pt>
          <cx:pt idx="1487">0.030894414351127199</cx:pt>
          <cx:pt idx="1488">0.069224059708538704</cx:pt>
          <cx:pt idx="1489">0.062964888223655105</cx:pt>
          <cx:pt idx="1490">-0.0027608087549349002</cx:pt>
          <cx:pt idx="1491">-0.058257375515979398</cx:pt>
          <cx:pt idx="1492">-0.034029315997521202</cx:pt>
          <cx:pt idx="1493">0.108758866940318</cx:pt>
          <cx:pt idx="1494">0.120910056785167</cx:pt>
          <cx:pt idx="1495">0.017416472617124101</cx:pt>
          <cx:pt idx="1496">0.088588940661989093</cx:pt>
          <cx:pt idx="1497">0.026235149336250999</cx:pt>
          <cx:pt idx="1498">0.032171839193889898</cx:pt>
          <cx:pt idx="1499">0.0092362518235291</cx:pt>
          <cx:pt idx="1500">-0.14024278611954699</cx:pt>
          <cx:pt idx="1501">0.096221653856553999</cx:pt>
          <cx:pt idx="1502">0.10116824450244399</cx:pt>
          <cx:pt idx="1503">-0.12965244467710099</cx:pt>
          <cx:pt idx="1504">-0.095323967541864105</cx:pt>
          <cx:pt idx="1505">0.083825653200407801</cx:pt>
          <cx:pt idx="1506">-0.11156338895428</cx:pt>
          <cx:pt idx="1507">0.0098760519014490008</cx:pt>
          <cx:pt idx="1508">-0.0583544574780109</cx:pt>
          <cx:pt idx="1509">0.13610109749733601</cx:pt>
          <cx:pt idx="1510">0.124751726900525</cx:pt>
          <cx:pt idx="1511">0.069887200502492697</cx:pt>
          <cx:pt idx="1512">0.0158503157082177</cx:pt>
          <cx:pt idx="1513">-0.003173881514655</cx:pt>
          <cx:pt idx="1514">0.030321101752745501</cx:pt>
          <cx:pt idx="1515">0.016694199167190199</cx:pt>
          <cx:pt idx="1516">0.10537746641934299</cx:pt>
          <cx:pt idx="1517">0.056727691324940002</cx:pt>
          <cx:pt idx="1518">0.14698957267516699</cx:pt>
          <cx:pt idx="1519">-0.025897128172272899</cx:pt>
          <cx:pt idx="1520">0.069182487287445193</cx:pt>
          <cx:pt idx="1521">0.040340804317162998</cx:pt>
          <cx:pt idx="1522">0.059052370823360498</cx:pt>
          <cx:pt idx="1523">0.085455012677425404</cx:pt>
          <cx:pt idx="1524">0.149325574053466</cx:pt>
          <cx:pt idx="1525">0.087644330712159504</cx:pt>
          <cx:pt idx="1526">0.061541132696187099</cx:pt>
          <cx:pt idx="1527">-0.0139635676897758</cx:pt>
          <cx:pt idx="1528">0.0098834454757035992</cx:pt>
          <cx:pt idx="1529">0.040249959225401997</cx:pt>
          <cx:pt idx="1530">-0.056891654238413802</cx:pt>
          <cx:pt idx="1531">0.116468892531625</cx:pt>
          <cx:pt idx="1532">-0.039839238242807398</cx:pt>
          <cx:pt idx="1533">0.0178003529974682</cx:pt>
          <cx:pt idx="1534">-0.090494047677070005</cx:pt>
          <cx:pt idx="1535">0.023317762982903702</cx:pt>
          <cx:pt idx="1536">0.10964137108222401</cx:pt>
          <cx:pt idx="1537">0.073984821059798297</cx:pt>
          <cx:pt idx="1538">0.028790946079563701</cx:pt>
          <cx:pt idx="1539">0.0054768844365229996</cx:pt>
          <cx:pt idx="1540">0.066008274970341702</cx:pt>
          <cx:pt idx="1541">0.093233069133210097</cx:pt>
          <cx:pt idx="1542">0.15832329644811499</cx:pt>
          <cx:pt idx="1543">0.044292099148001599</cx:pt>
          <cx:pt idx="1544">0.078975308257600907</cx:pt>
          <cx:pt idx="1545">0.132709406103628</cx:pt>
          <cx:pt idx="1546">-0.042097845215082801</cx:pt>
          <cx:pt idx="1547">-0.17840490696068501</cx:pt>
          <cx:pt idx="1548">0.095651935619443199</cx:pt>
          <cx:pt idx="1549">0.083877565094723106</cx:pt>
          <cx:pt idx="1550">0.14101728145066</cx:pt>
          <cx:pt idx="1551">-0.022652063407303798</cx:pt>
          <cx:pt idx="1552">0.038961183356336603</cx:pt>
          <cx:pt idx="1553">0.095563087473928596</cx:pt>
          <cx:pt idx="1554">-0.018861903004237499</cx:pt>
          <cx:pt idx="1555">0.15899539605833499</cx:pt>
          <cx:pt idx="1556">-0.0929755862268766</cx:pt>
          <cx:pt idx="1557">-0.10999749946095</cx:pt>
          <cx:pt idx="1558">0.043291892191918403</cx:pt>
          <cx:pt idx="1559">-0.13204724866215201</cx:pt>
          <cx:pt idx="1560">-0.078703581438619705</cx:pt>
          <cx:pt idx="1561">0.10804580907073399</cx:pt>
          <cx:pt idx="1562">0.035251686231521799</cx:pt>
          <cx:pt idx="1563">0.095660779082544195</cx:pt>
          <cx:pt idx="1564">0.027666857239060001</cx:pt>
          <cx:pt idx="1565">0.141194349241898</cx:pt>
          <cx:pt idx="1566">0.081726401633594001</cx:pt>
          <cx:pt idx="1567">0.11468107882375</cx:pt>
          <cx:pt idx="1568">0.052350915050347301</cx:pt>
          <cx:pt idx="1569">0.073218233934578797</cx:pt>
          <cx:pt idx="1570">0.052289748501906902</cx:pt>
          <cx:pt idx="1571">0.070204318284600206</cx:pt>
          <cx:pt idx="1572">0.094506113028988301</cx:pt>
          <cx:pt idx="1573">0.088104041310167996</cx:pt>
          <cx:pt idx="1574">-0.10881932645601</cx:pt>
          <cx:pt idx="1575">0.093987595099405297</cx:pt>
          <cx:pt idx="1576">0.14989400518829099</cx:pt>
          <cx:pt idx="1577">0.0111544193983758</cx:pt>
          <cx:pt idx="1578">0.018363532434956899</cx:pt>
          <cx:pt idx="1579">0.14440631728172301</cx:pt>
          <cx:pt idx="1580">-0.0306503055300637</cx:pt>
          <cx:pt idx="1581">0.080841537948974501</cx:pt>
          <cx:pt idx="1582">0.051592163091414497</cx:pt>
          <cx:pt idx="1583">0.094720200519578801</cx:pt>
          <cx:pt idx="1584">0.101973168314896</cx:pt>
          <cx:pt idx="1585">0.070425815015901602</cx:pt>
          <cx:pt idx="1586">0.068743663860186099</cx:pt>
          <cx:pt idx="1587">-0.148825069549923</cx:pt>
          <cx:pt idx="1588">0.022577389401228099</cx:pt>
          <cx:pt idx="1589">0.019314918889771</cx:pt>
          <cx:pt idx="1590">0.059885966886354301</cx:pt>
          <cx:pt idx="1591">0.053106826702578602</cx:pt>
          <cx:pt idx="1592">0.090083707599603505</cx:pt>
          <cx:pt idx="1593">0.019639297179641701</cx:pt>
          <cx:pt idx="1594">0.040021181200956497</cx:pt>
          <cx:pt idx="1595">0.085911933367169999</cx:pt>
          <cx:pt idx="1596">0.115080311916489</cx:pt>
          <cx:pt idx="1597">0.143775774671342</cx:pt>
          <cx:pt idx="1598">0.109752365804102</cx:pt>
          <cx:pt idx="1599">0.042288967523956798</cx:pt>
          <cx:pt idx="1600">0.0076168895222770002</cx:pt>
          <cx:pt idx="1601">0.124209120235011</cx:pt>
          <cx:pt idx="1602">0.048986266644297602</cx:pt>
          <cx:pt idx="1603">0.066729370814572198</cx:pt>
          <cx:pt idx="1604">-0.041894540239443598</cx:pt>
          <cx:pt idx="1605">0.073083990265654805</cx:pt>
          <cx:pt idx="1606">0.094575745217944096</cx:pt>
          <cx:pt idx="1607">0.033896025660982598</cx:pt>
          <cx:pt idx="1608">0.015868151237541601</cx:pt>
          <cx:pt idx="1609">0.087707875957144799</cx:pt>
          <cx:pt idx="1610">-0.0317127762951179</cx:pt>
          <cx:pt idx="1611">0.087837233397132897</cx:pt>
          <cx:pt idx="1612">0.094317542180838695</cx:pt>
          <cx:pt idx="1613">0.11879404270461601</cx:pt>
          <cx:pt idx="1614">0.110831106930161</cx:pt>
          <cx:pt idx="1615">-0.051272350050384698</cx:pt>
          <cx:pt idx="1616">0.10080801107531499</cx:pt>
          <cx:pt idx="1617">0.073862439392102297</cx:pt>
          <cx:pt idx="1618">0.070034023277044805</cx:pt>
          <cx:pt idx="1619">-0.0159913644833704</cx:pt>
          <cx:pt idx="1620">0.098542059956612901</cx:pt>
          <cx:pt idx="1621">0.077748661980996406</cx:pt>
          <cx:pt idx="1622">-0.056503353363015499</cx:pt>
          <cx:pt idx="1623">0.11671783191245</cx:pt>
          <cx:pt idx="1624">0.094297318303022404</cx:pt>
          <cx:pt idx="1625">0.117792111482456</cx:pt>
          <cx:pt idx="1626">-0.058802282586228903</cx:pt>
          <cx:pt idx="1627">0.11690416150140701</cx:pt>
          <cx:pt idx="1628">0.032080130962616797</cx:pt>
          <cx:pt idx="1629">0.026752533892257201</cx:pt>
          <cx:pt idx="1630">0.016522793317841102</cx:pt>
          <cx:pt idx="1631">-0.0097180523333538996</cx:pt>
          <cx:pt idx="1632">-0.0305079982139119</cx:pt>
          <cx:pt idx="1633">0.066064513856394197</cx:pt>
          <cx:pt idx="1634">0.066351495456102</cx:pt>
          <cx:pt idx="1635">0.0090925541959452003</cx:pt>
          <cx:pt idx="1636">0.12815645304686701</cx:pt>
          <cx:pt idx="1637">0.14682486847839499</cx:pt>
          <cx:pt idx="1638">-0.0153051178142253</cx:pt>
          <cx:pt idx="1639">0.094103698655488302</cx:pt>
          <cx:pt idx="1640">-0.026474253427770399</cx:pt>
          <cx:pt idx="1641">0.043731620074269201</cx:pt>
          <cx:pt idx="1642">0.033760370000153701</cx:pt>
          <cx:pt idx="1643">0.126911219401485</cx:pt>
          <cx:pt idx="1644">-0.0096037322117496007</cx:pt>
          <cx:pt idx="1645">-0.088627257382781793</cx:pt>
          <cx:pt idx="1646">0.047832050612634999</cx:pt>
          <cx:pt idx="1647">0.064221416960217506</cx:pt>
          <cx:pt idx="1648">0.020429120964290799</cx:pt>
          <cx:pt idx="1649">0.094837694377544302</cx:pt>
          <cx:pt idx="1650">-0.077378975089468394</cx:pt>
          <cx:pt idx="1651">0.025831203891477701</cx:pt>
          <cx:pt idx="1652">0.070429865251815701</cx:pt>
          <cx:pt idx="1653">-0.013927139810514</cx:pt>
          <cx:pt idx="1654">0.037523787673304498</cx:pt>
          <cx:pt idx="1655">0.123938763025903</cx:pt>
          <cx:pt idx="1656">0.0140884468888893</cx:pt>
          <cx:pt idx="1657">0.085270540346485194</cx:pt>
          <cx:pt idx="1658">-0.0160837747139683</cx:pt>
          <cx:pt idx="1659">0.050016297184376897</cx:pt>
          <cx:pt idx="1660">0.14941830738199899</cx:pt>
          <cx:pt idx="1661">-0.032361896975446398</cx:pt>
          <cx:pt idx="1662">-0.050275846590389799</cx:pt>
          <cx:pt idx="1663">0.058015780246048698</cx:pt>
          <cx:pt idx="1664">-0.0015750766260327</cx:pt>
          <cx:pt idx="1665">0.14159529001728499</cx:pt>
          <cx:pt idx="1666">0.099900974804924297</cx:pt>
          <cx:pt idx="1667">-0.033408161914844303</cx:pt>
          <cx:pt idx="1668">0.076681533857998502</cx:pt>
          <cx:pt idx="1669">0.046277931289623597</cx:pt>
          <cx:pt idx="1670">-0.043158421432074899</cx:pt>
          <cx:pt idx="1671">0.096558261116542005</cx:pt>
          <cx:pt idx="1672">0.022087753563819899</cx:pt>
          <cx:pt idx="1673">-0.02960716791937</cx:pt>
          <cx:pt idx="1674">0.028572293916256701</cx:pt>
          <cx:pt idx="1675">-0.081947433537956305</cx:pt>
          <cx:pt idx="1676">0.090011771275452304</cx:pt>
          <cx:pt idx="1677">0.0068363150563240001</cx:pt>
          <cx:pt idx="1678">0.109547660017461</cx:pt>
          <cx:pt idx="1679">0.012392529360182499</cx:pt>
          <cx:pt idx="1680">0.079408021229221706</cx:pt>
          <cx:pt idx="1681">-0.050048515941150097</cx:pt>
          <cx:pt idx="1682">-0.034827319663592801</cx:pt>
          <cx:pt idx="1683">-0.0035098028118499998</cx:pt>
          <cx:pt idx="1684">0.070908427071283003</cx:pt>
          <cx:pt idx="1685">0.103148896906974</cx:pt>
          <cx:pt idx="1686">-0.052866113672348503</cx:pt>
          <cx:pt idx="1687">0.0703644046497931</cx:pt>
          <cx:pt idx="1688">0.030799768315922699</cx:pt>
          <cx:pt idx="1689">0.0477239940319217</cx:pt>
          <cx:pt idx="1690">0.0021093541595906999</cx:pt>
          <cx:pt idx="1691">-0.058153061314679302</cx:pt>
          <cx:pt idx="1692">0.046022226861518203</cx:pt>
          <cx:pt idx="1693">0.057338852298151201</cx:pt>
          <cx:pt idx="1694">0.017697464395738601</cx:pt>
          <cx:pt idx="1695">0.042578780971407097</cx:pt>
          <cx:pt idx="1696">0.163871773806646</cx:pt>
          <cx:pt idx="1697">0.051703787720045198</cx:pt>
          <cx:pt idx="1698">0.086742435455294406</cx:pt>
          <cx:pt idx="1699">-0.0015445847375080001</cx:pt>
          <cx:pt idx="1700">0.10113212705758</cx:pt>
          <cx:pt idx="1701">-0.049548187414516102</cx:pt>
          <cx:pt idx="1702">0.00049986341374690004</cx:pt>
          <cx:pt idx="1703">0.12642185406978401</cx:pt>
          <cx:pt idx="1704">-0.025572059420998199</cx:pt>
          <cx:pt idx="1705">0.0726483067770895</cx:pt>
          <cx:pt idx="1706">0.038469047430761898</cx:pt>
          <cx:pt idx="1707">-0.14039906129920399</cx:pt>
          <cx:pt idx="1708">0.0311415713857267</cx:pt>
          <cx:pt idx="1709">-0.0125528393492655</cx:pt>
          <cx:pt idx="1710">0.0142682277716957</cx:pt>
          <cx:pt idx="1711">-0.124032222171384</cx:pt>
          <cx:pt idx="1712">0.023424751246158799</cx:pt>
          <cx:pt idx="1713">0.13406809744794901</cx:pt>
          <cx:pt idx="1714">0.054029564132006401</cx:pt>
          <cx:pt idx="1715">0.075815976821864195</cx:pt>
          <cx:pt idx="1716">0.010060716700440699</cx:pt>
          <cx:pt idx="1717">0.0035046138254524002</cx:pt>
          <cx:pt idx="1718">0.088467478178504796</cx:pt>
          <cx:pt idx="1719">0.091814747354829904</cx:pt>
          <cx:pt idx="1720">0.136854511076481</cx:pt>
          <cx:pt idx="1721">0.118846813489461</cx:pt>
          <cx:pt idx="1722">-0.095443865976436906</cx:pt>
          <cx:pt idx="1723">0.0012057973864833</cx:pt>
          <cx:pt idx="1724">0.045134853366392003</cx:pt>
          <cx:pt idx="1725">0.13401776260787501</cx:pt>
          <cx:pt idx="1726">0.106724976956406</cx:pt>
          <cx:pt idx="1727">0.051225799134598897</cx:pt>
          <cx:pt idx="1728">0.10232945265049</cx:pt>
          <cx:pt idx="1729">0.048387344232062098</cx:pt>
          <cx:pt idx="1730">0.058241727248822199</cx:pt>
          <cx:pt idx="1731">0.065537847263738305</cx:pt>
          <cx:pt idx="1732">0.138693009858633</cx:pt>
          <cx:pt idx="1733">-0.22767068074689001</cx:pt>
          <cx:pt idx="1734">-0.030546391353295999</cx:pt>
          <cx:pt idx="1735">-0.061439130882435598</cx:pt>
          <cx:pt idx="1736">-0.0011684375726219</cx:pt>
          <cx:pt idx="1737">0.083824159073256299</cx:pt>
          <cx:pt idx="1738">0.0106359563684246</cx:pt>
          <cx:pt idx="1739">0.073519335688600501</cx:pt>
          <cx:pt idx="1740">-0.023695659601480401</cx:pt>
          <cx:pt idx="1741">0.081551567756108903</cx:pt>
          <cx:pt idx="1742">0.071692733956979698</cx:pt>
          <cx:pt idx="1743">0.059041127490396</cx:pt>
          <cx:pt idx="1744">0.079944462571351002</cx:pt>
          <cx:pt idx="1745">0.062254420892541101</cx:pt>
          <cx:pt idx="1746">0.023906425083267901</cx:pt>
          <cx:pt idx="1747">-0.16382291876431199</cx:pt>
          <cx:pt idx="1748">0.108703002687493</cx:pt>
          <cx:pt idx="1749">0.10689006234486299</cx:pt>
          <cx:pt idx="1750">0.077233325824052401</cx:pt>
          <cx:pt idx="1751">0.11862778710546</cx:pt>
          <cx:pt idx="1752">0.024109299648594599</cx:pt>
          <cx:pt idx="1753">0.037504195137092702</cx:pt>
          <cx:pt idx="1754">0.10988913546250401</cx:pt>
          <cx:pt idx="1755">0.050650607120294899</cx:pt>
          <cx:pt idx="1756">-0.021230801684251701</cx:pt>
          <cx:pt idx="1757">0.0440456373599915</cx:pt>
          <cx:pt idx="1758">0.0294255096296842</cx:pt>
          <cx:pt idx="1759">0.023096502553595102</cx:pt>
          <cx:pt idx="1760">0.077448253020133001</cx:pt>
          <cx:pt idx="1761">-0.0111711725029241</cx:pt>
          <cx:pt idx="1762">0.046753460902136099</cx:pt>
          <cx:pt idx="1763">0.092256004002471304</cx:pt>
          <cx:pt idx="1764">0.13822645133955799</cx:pt>
          <cx:pt idx="1765">0.147162794819931</cx:pt>
          <cx:pt idx="1766">0.017394166246792599</cx:pt>
          <cx:pt idx="1767">0.0368149314457097</cx:pt>
          <cx:pt idx="1768">-0.122638480036229</cx:pt>
          <cx:pt idx="1769">0.159060657234848</cx:pt>
          <cx:pt idx="1770">0.13813126277614099</cx:pt>
          <cx:pt idx="1771">-0.0946912351976575</cx:pt>
          <cx:pt idx="1772">0.066190689822705304</cx:pt>
          <cx:pt idx="1773">0.076298918647607794</cx:pt>
          <cx:pt idx="1774">0.092500170126296993</cx:pt>
          <cx:pt idx="1775">0.010486145844733299</cx:pt>
          <cx:pt idx="1776">0.034552308443212998</cx:pt>
          <cx:pt idx="1777">0.00028710740618859999</cx:pt>
          <cx:pt idx="1778">0.077892439103955699</cx:pt>
          <cx:pt idx="1779">-0.058760928405021</cx:pt>
          <cx:pt idx="1780">-0.048202561914917202</cx:pt>
          <cx:pt idx="1781">-0.081343492820100102</cx:pt>
          <cx:pt idx="1782">0.080524636416682296</cx:pt>
          <cx:pt idx="1783">-0.041448059569208801</cx:pt>
          <cx:pt idx="1784">-0.0973572736509285</cx:pt>
          <cx:pt idx="1785">0.012180686842889501</cx:pt>
          <cx:pt idx="1786">0.076145722708268304</cx:pt>
          <cx:pt idx="1787">-0.057778907082046298</cx:pt>
          <cx:pt idx="1788">0.111196254690052</cx:pt>
          <cx:pt idx="1789">0.058053511714067099</cx:pt>
          <cx:pt idx="1790">0.166991507585428</cx:pt>
          <cx:pt idx="1791">0.13924435576400801</cx:pt>
          <cx:pt idx="1792">-0.041347199484617299</cx:pt>
          <cx:pt idx="1793">0.055235310661546397</cx:pt>
          <cx:pt idx="1794">-0.0048705697301719003</cx:pt>
          <cx:pt idx="1795">0.10207744930278401</cx:pt>
          <cx:pt idx="1796">-0.0295239207102727</cx:pt>
          <cx:pt idx="1797">-0.104380860211379</cx:pt>
          <cx:pt idx="1798">0.042027449693999297</cx:pt>
          <cx:pt idx="1799">0.085128869610692506</cx:pt>
          <cx:pt idx="1800">0.082810026760930494</cx:pt>
          <cx:pt idx="1801">0.14390152976837201</cx:pt>
          <cx:pt idx="1802">0.112008338431204</cx:pt>
          <cx:pt idx="1803">0.039286909439654599</cx:pt>
          <cx:pt idx="1804">0.021101736274097099</cx:pt>
          <cx:pt idx="1805">0.024696176620030499</cx:pt>
          <cx:pt idx="1806">0.100101500044268</cx:pt>
          <cx:pt idx="1807">0.035806552316781398</cx:pt>
          <cx:pt idx="1808">-0.022328018212656901</cx:pt>
          <cx:pt idx="1809">-0.101683016615728</cx:pt>
          <cx:pt idx="1810">0.0090908972173939992</cx:pt>
          <cx:pt idx="1811">0.093004128096895594</cx:pt>
          <cx:pt idx="1812">0.00065974963930849997</cx:pt>
          <cx:pt idx="1813">0.081599540121669395</cx:pt>
          <cx:pt idx="1814">0.055318533862176403</cx:pt>
          <cx:pt idx="1815">0.106431679245861</cx:pt>
          <cx:pt idx="1816">0.106847302284495</cx:pt>
          <cx:pt idx="1817">0.029892683988424901</cx:pt>
          <cx:pt idx="1818">-0.0137853686523427</cx:pt>
          <cx:pt idx="1819">0.0087186729500574999</cx:pt>
          <cx:pt idx="1820">0.130867555951414</cx:pt>
          <cx:pt idx="1821">-0.012765743204304399</cx:pt>
          <cx:pt idx="1822">-0.0176935037564885</cx:pt>
          <cx:pt idx="1823">0.086935189825983902</cx:pt>
          <cx:pt idx="1824">-0.038131495516250898</cx:pt>
          <cx:pt idx="1825">0.088622344408502904</cx:pt>
          <cx:pt idx="1826">-0.018710801957442201</cx:pt>
          <cx:pt idx="1827">0.0515269612764356</cx:pt>
          <cx:pt idx="1828">-0.131120459677736</cx:pt>
          <cx:pt idx="1829">0.082801062708139694</cx:pt>
          <cx:pt idx="1830">-0.0092416218636878992</cx:pt>
          <cx:pt idx="1831">-0.031289200205755097</cx:pt>
          <cx:pt idx="1832">0.036657184532728301</cx:pt>
          <cx:pt idx="1833">0.10685708951895501</cx:pt>
          <cx:pt idx="1834">-0.0067652673949784</cx:pt>
          <cx:pt idx="1835">0.076166894621856301</cx:pt>
          <cx:pt idx="1836">0.016575642954295099</cx:pt>
          <cx:pt idx="1837">0.042747932217706001</cx:pt>
          <cx:pt idx="1838">-0.0030321473330184</cx:pt>
          <cx:pt idx="1839">0.0117633667238809</cx:pt>
          <cx:pt idx="1840">0.14360831551059799</cx:pt>
          <cx:pt idx="1841">-0.062144689775543299</cx:pt>
          <cx:pt idx="1842">0.102524734219504</cx:pt>
          <cx:pt idx="1843">0.054581555544420901</cx:pt>
          <cx:pt idx="1844">0.12270217044198201</cx:pt>
          <cx:pt idx="1845">-0.023495153489811502</cx:pt>
          <cx:pt idx="1846">-0.024746368865415602</cx:pt>
          <cx:pt idx="1847">-0.049428090387748001</cx:pt>
          <cx:pt idx="1848">0.149702301091831</cx:pt>
          <cx:pt idx="1849">0.088720468267739105</cx:pt>
          <cx:pt idx="1850">0.032669678579102301</cx:pt>
          <cx:pt idx="1851">0.073773385689302501</cx:pt>
          <cx:pt idx="1852">0.13124880168584399</cx:pt>
          <cx:pt idx="1853">-0.014179991609001101</cx:pt>
          <cx:pt idx="1854">0.027960427704881999</cx:pt>
          <cx:pt idx="1855">-0.082946148374502496</cx:pt>
          <cx:pt idx="1856">0.130224231958595</cx:pt>
          <cx:pt idx="1857">0.13216082140512</cx:pt>
          <cx:pt idx="1858">0.020917458740871898</cx:pt>
          <cx:pt idx="1859">-0.049086355006276498</cx:pt>
          <cx:pt idx="1860">-0.0021400054485688999</cx:pt>
          <cx:pt idx="1861">0.030413252740217101</cx:pt>
          <cx:pt idx="1862">0.072456505699555099</cx:pt>
          <cx:pt idx="1863">0.0945075600011899</cx:pt>
          <cx:pt idx="1864">0.101482242364966</cx:pt>
          <cx:pt idx="1865">-0.16392814410488299</cx:pt>
          <cx:pt idx="1866">0.074551643479955201</cx:pt>
          <cx:pt idx="1867">0.0310903638306868</cx:pt>
          <cx:pt idx="1868">0.0701134065037268</cx:pt>
          <cx:pt idx="1869">0.0108439158903696</cx:pt>
          <cx:pt idx="1870">0.0208595614598737</cx:pt>
          <cx:pt idx="1871">-0.0066287479638940001</cx:pt>
          <cx:pt idx="1872">0.087123872150540405</cx:pt>
          <cx:pt idx="1873">-0.013426567157904599</cx:pt>
          <cx:pt idx="1874">0.0154754581672719</cx:pt>
          <cx:pt idx="1875">-0.0530603280757544</cx:pt>
          <cx:pt idx="1876">0.154780113200261</cx:pt>
          <cx:pt idx="1877">0.093878360661364901</cx:pt>
          <cx:pt idx="1878">0.10683323994400901</cx:pt>
          <cx:pt idx="1879">0.040397554644975901</cx:pt>
          <cx:pt idx="1880">0.0138996409178804</cx:pt>
          <cx:pt idx="1881">-0.0621309508557066</cx:pt>
          <cx:pt idx="1882">0.032898574117211497</cx:pt>
          <cx:pt idx="1883">0.037326511684568499</cx:pt>
          <cx:pt idx="1884">0.11050553459651601</cx:pt>
          <cx:pt idx="1885">0.098401772483355507</cx:pt>
          <cx:pt idx="1886">-0.0490923302542665</cx:pt>
          <cx:pt idx="1887">0.023047444165792401</cx:pt>
          <cx:pt idx="1888">0.12351418479672401</cx:pt>
          <cx:pt idx="1889">-0.031898733414677603</cx:pt>
          <cx:pt idx="1890">0.063922093329194601</cx:pt>
          <cx:pt idx="1891">0.0095487119714863008</cx:pt>
          <cx:pt idx="1892">-0.061377414681632797</cx:pt>
          <cx:pt idx="1893">0.12848561241284301</cx:pt>
          <cx:pt idx="1894">0.071060116487797503</cx:pt>
          <cx:pt idx="1895">0.032755206414450198</cx:pt>
          <cx:pt idx="1896">0.13116062328179101</cx:pt>
          <cx:pt idx="1897">0.098032978159238005</cx:pt>
          <cx:pt idx="1898">0.0066281670713901003</cx:pt>
          <cx:pt idx="1899">0.072727429943320404</cx:pt>
          <cx:pt idx="1900">0.073793885921980801</cx:pt>
          <cx:pt idx="1901">-0.062757731034629005</cx:pt>
          <cx:pt idx="1902">0.13658907942170501</cx:pt>
          <cx:pt idx="1903">0.10580514012437001</cx:pt>
          <cx:pt idx="1904">0.084779735251427901</cx:pt>
          <cx:pt idx="1905">-0.021715638035814201</cx:pt>
          <cx:pt idx="1906">0.085118012805951104</cx:pt>
          <cx:pt idx="1907">0.071524062744336994</cx:pt>
          <cx:pt idx="1908">0.075388598694187403</cx:pt>
          <cx:pt idx="1909">0.059363488256493901</cx:pt>
          <cx:pt idx="1910">0.140199057481221</cx:pt>
          <cx:pt idx="1911">-0.100194745332554</cx:pt>
          <cx:pt idx="1912">0.067425976059709194</cx:pt>
          <cx:pt idx="1913">0.061866104329611003</cx:pt>
          <cx:pt idx="1914">-0.0063112109208112001</cx:pt>
          <cx:pt idx="1915">0.0050927489623083999</cx:pt>
          <cx:pt idx="1916">-0.020953305659296199</cx:pt>
          <cx:pt idx="1917">0.044616138154231197</cx:pt>
          <cx:pt idx="1918">0.0031294663601596998</cx:pt>
          <cx:pt idx="1919">0.041967046337075702</cx:pt>
          <cx:pt idx="1920">0.0092070852099416008</cx:pt>
          <cx:pt idx="1921">0.026996310286830801</cx:pt>
          <cx:pt idx="1922">-0.0328865969568942</cx:pt>
          <cx:pt idx="1923">0.042119276826053598</cx:pt>
          <cx:pt idx="1924">-0.023455232587433199</cx:pt>
          <cx:pt idx="1925">0.0601408890985611</cx:pt>
          <cx:pt idx="1926">0.105054946249668</cx:pt>
          <cx:pt idx="1927">-0.014634708221258799</cx:pt>
          <cx:pt idx="1928">0.066622339623021304</cx:pt>
          <cx:pt idx="1929">-0.036867907020810997</cx:pt>
          <cx:pt idx="1930">0.079297530520164403</cx:pt>
          <cx:pt idx="1931">0.0193277123189666</cx:pt>
          <cx:pt idx="1932">-0.0078435561772217006</cx:pt>
          <cx:pt idx="1933">0.020586777991345898</cx:pt>
          <cx:pt idx="1934">-0.020002375739809002</cx:pt>
          <cx:pt idx="1935">0.0046984091260780002</cx:pt>
          <cx:pt idx="1936">-0.042968987024518401</cx:pt>
          <cx:pt idx="1937">0.10278652235293601</cx:pt>
          <cx:pt idx="1938">0.0072071331065007996</cx:pt>
          <cx:pt idx="1939">0.020819259045107098</cx:pt>
          <cx:pt idx="1940">0.100744024243358</cx:pt>
          <cx:pt idx="1941">0.016302458533894199</cx:pt>
          <cx:pt idx="1942">0.034268076529890001</cx:pt>
          <cx:pt idx="1943">0.10241440351179899</cx:pt>
          <cx:pt idx="1944">0.066309312572144299</cx:pt>
          <cx:pt idx="1945">0.11687012911344601</cx:pt>
          <cx:pt idx="1946">0.11919782502368299</cx:pt>
          <cx:pt idx="1947">0.0195797474350346</cx:pt>
          <cx:pt idx="1948">-0.051819279859299502</cx:pt>
          <cx:pt idx="1949">0.071877050883262905</cx:pt>
          <cx:pt idx="1950">-0.032784793090726197</cx:pt>
          <cx:pt idx="1951">-0.095840938803691295</cx:pt>
          <cx:pt idx="1952">0.083327478127190005</cx:pt>
          <cx:pt idx="1953">-0.00046675964656160002</cx:pt>
          <cx:pt idx="1954">0.065060290422369299</cx:pt>
          <cx:pt idx="1955">0.083948952725125897</cx:pt>
          <cx:pt idx="1956">0.095962865389189494</cx:pt>
          <cx:pt idx="1957">0.043240556656509499</cx:pt>
          <cx:pt idx="1958">-0.065919786894415397</cx:pt>
          <cx:pt idx="1959">-0.0188530499778745</cx:pt>
          <cx:pt idx="1960">0.112718215663245</cx:pt>
          <cx:pt idx="1961">0.037294434421952898</cx:pt>
          <cx:pt idx="1962">0.069599543168155698</cx:pt>
          <cx:pt idx="1963">0.0101820034730578</cx:pt>
          <cx:pt idx="1964">-0.089164439707848805</cx:pt>
          <cx:pt idx="1965">-0.0180543651013471</cx:pt>
          <cx:pt idx="1966">0.013330963345544599</cx:pt>
          <cx:pt idx="1967">-0.014939046294256599</cx:pt>
          <cx:pt idx="1968">0.023963494179660001</cx:pt>
          <cx:pt idx="1969">0.12061682236591099</cx:pt>
          <cx:pt idx="1970">0.0141251743957164</cx:pt>
          <cx:pt idx="1971">0.118765802067285</cx:pt>
          <cx:pt idx="1972">0.050149249022219199</cx:pt>
          <cx:pt idx="1973">0.087331757899068996</cx:pt>
          <cx:pt idx="1974">-0.0148103730678881</cx:pt>
          <cx:pt idx="1975">-0.032164690356571102</cx:pt>
          <cx:pt idx="1976">0.07279958889391</cx:pt>
          <cx:pt idx="1977">0.049438205337350903</cx:pt>
          <cx:pt idx="1978">0.161728871166546</cx:pt>
          <cx:pt idx="1979">0.082007828936557406</cx:pt>
          <cx:pt idx="1980">-0.016156658540733702</cx:pt>
          <cx:pt idx="1981">0.085597405496897996</cx:pt>
          <cx:pt idx="1982">-0.051930368209483699</cx:pt>
          <cx:pt idx="1983">-0.022545092500536299</cx:pt>
          <cx:pt idx="1984">-0.0067607344079263004</cx:pt>
          <cx:pt idx="1985">-0.14472826460652799</cx:pt>
          <cx:pt idx="1986">-0.019987661369891399</cx:pt>
          <cx:pt idx="1987">0.019282659719379099</cx:pt>
          <cx:pt idx="1988">0.081664576474990799</cx:pt>
          <cx:pt idx="1989">-0.016700383211333599</cx:pt>
          <cx:pt idx="1990">-0.062393570023856502</cx:pt>
          <cx:pt idx="1991">0.0620949622978769</cx:pt>
          <cx:pt idx="1992">0.084231259659811097</cx:pt>
          <cx:pt idx="1993">-0.072711986817029894</cx:pt>
          <cx:pt idx="1994">0.068787663213714004</cx:pt>
          <cx:pt idx="1995">-0.046270868491184398</cx:pt>
          <cx:pt idx="1996">0.063530463146868194</cx:pt>
          <cx:pt idx="1997">0.065399479360326196</cx:pt>
          <cx:pt idx="1998">0.022081582842581601</cx:pt>
          <cx:pt idx="1999">0.011497350826835199</cx:pt>
          <cx:pt idx="2000">0.042351194001585102</cx:pt>
          <cx:pt idx="2001">0.069103680007805895</cx:pt>
          <cx:pt idx="2002">0.085670203822822602</cx:pt>
          <cx:pt idx="2003">0.0220440828178321</cx:pt>
          <cx:pt idx="2004">0.075866139344837796</cx:pt>
          <cx:pt idx="2005">0.055746837352274099</cx:pt>
          <cx:pt idx="2006">-0.17773258856274099</cx:pt>
          <cx:pt idx="2007">0.059019479127680803</cx:pt>
          <cx:pt idx="2008">0.076035507017059495</cx:pt>
          <cx:pt idx="2009">0.084122736229374107</cx:pt>
          <cx:pt idx="2010">0.106131382207167</cx:pt>
          <cx:pt idx="2011">0.0115266048887429</cx:pt>
          <cx:pt idx="2012">0.011627983407706001</cx:pt>
          <cx:pt idx="2013">0.015967398514923199</cx:pt>
          <cx:pt idx="2014">0.053136474870041202</cx:pt>
          <cx:pt idx="2015">-0.201655912483959</cx:pt>
          <cx:pt idx="2016">-0.169401069563555</cx:pt>
          <cx:pt idx="2017">-0.040682987473432602</cx:pt>
          <cx:pt idx="2018">0.0064253871105640998</cx:pt>
          <cx:pt idx="2019">-0.0081857175837506992</cx:pt>
          <cx:pt idx="2020">0.063079939152640901</cx:pt>
          <cx:pt idx="2021">0.081931727499750695</cx:pt>
          <cx:pt idx="2022">0.0040064166119989</cx:pt>
          <cx:pt idx="2023">0.14714791348532699</cx:pt>
          <cx:pt idx="2024">0.15924103464988301</cx:pt>
          <cx:pt idx="2025">0.0221951959933578</cx:pt>
          <cx:pt idx="2026">0.080301255025508098</cx:pt>
          <cx:pt idx="2027">0.048093475127041901</cx:pt>
          <cx:pt idx="2028">0.076018015690209995</cx:pt>
          <cx:pt idx="2029">-0.0083441318762677002</cx:pt>
          <cx:pt idx="2030">0.020994380672918301</cx:pt>
          <cx:pt idx="2031">0.044058598570865901</cx:pt>
          <cx:pt idx="2032">0.050570289196316502</cx:pt>
          <cx:pt idx="2033">0.033249108624369098</cx:pt>
          <cx:pt idx="2034">-0.021056447823368799</cx:pt>
          <cx:pt idx="2035">0.074717881204550904</cx:pt>
          <cx:pt idx="2036">0.064454435058101403</cx:pt>
          <cx:pt idx="2037">0.041203727743717</cx:pt>
          <cx:pt idx="2038">0.119486185039401</cx:pt>
          <cx:pt idx="2039">0.049377282392656499</cx:pt>
          <cx:pt idx="2040">-0.069262610975051098</cx:pt>
          <cx:pt idx="2041">0.090971524382959995</cx:pt>
          <cx:pt idx="2042">0.045640589045390298</cx:pt>
          <cx:pt idx="2043">-0.035241096498866101</cx:pt>
          <cx:pt idx="2044">-0.0024457413408813999</cx:pt>
          <cx:pt idx="2045">0.077960295649656994</cx:pt>
          <cx:pt idx="2046">-0.0021978760515861998</cx:pt>
          <cx:pt idx="2047">0.045714442602105297</cx:pt>
          <cx:pt idx="2048">0.049476717558198699</cx:pt>
          <cx:pt idx="2049">-0.141198601787248</cx:pt>
          <cx:pt idx="2050">0.13710133354030099</cx:pt>
          <cx:pt idx="2051">0.113662961952367</cx:pt>
          <cx:pt idx="2052">0.0065728446293991001</cx:pt>
          <cx:pt idx="2053">-0.060755927583566301</cx:pt>
          <cx:pt idx="2054">0.13691912528345199</cx:pt>
          <cx:pt idx="2055">0.079674107353372201</cx:pt>
          <cx:pt idx="2056">-0.0509416438062123</cx:pt>
          <cx:pt idx="2057">0.0136312353601367</cx:pt>
          <cx:pt idx="2058">0.012650228947111101</cx:pt>
          <cx:pt idx="2059">0.108909985389402</cx:pt>
          <cx:pt idx="2060">0.12640414574414099</cx:pt>
          <cx:pt idx="2061">-0.218878182567943</cx:pt>
          <cx:pt idx="2062">0.078486698084650294</cx:pt>
          <cx:pt idx="2063">0.097853260841580594</cx:pt>
          <cx:pt idx="2064">0.044326110474417001</cx:pt>
          <cx:pt idx="2065">-0.018547082571910099</cx:pt>
          <cx:pt idx="2066">0.084893798128448994</cx:pt>
          <cx:pt idx="2067">-0.055684091606225498</cx:pt>
          <cx:pt idx="2068">0.082239289410999894</cx:pt>
          <cx:pt idx="2069">0.023909552148139598</cx:pt>
          <cx:pt idx="2070">0.100369217963259</cx:pt>
          <cx:pt idx="2071">0.015994796067490699</cx:pt>
          <cx:pt idx="2072">0.019639297179641701</cx:pt>
          <cx:pt idx="2073">0.098108064886282001</cx:pt>
          <cx:pt idx="2074">0.11013355862788</cx:pt>
          <cx:pt idx="2075">0.087299845910423404</cx:pt>
          <cx:pt idx="2076">0.10996628720657201</cx:pt>
          <cx:pt idx="2077">0.090218057398241097</cx:pt>
          <cx:pt idx="2078">0.072172077960800898</cx:pt>
          <cx:pt idx="2079">0.097005356025868406</cx:pt>
          <cx:pt idx="2080">-0.076084782927731395</cx:pt>
          <cx:pt idx="2081">-0.18780968610031301</cx:pt>
          <cx:pt idx="2082">-0.040719266088673899</cx:pt>
          <cx:pt idx="2083">0.103432246886521</cx:pt>
          <cx:pt idx="2084">-0.023136983686082899</cx:pt>
          <cx:pt idx="2085">0.0354607684183341</cx:pt>
          <cx:pt idx="2086">0.093205217840048801</cx:pt>
          <cx:pt idx="2087">0.064698378157278996</cx:pt>
          <cx:pt idx="2088">0.027309453750943399</cx:pt>
          <cx:pt idx="2089">0.13300408411929299</cx:pt>
          <cx:pt idx="2090">-0.0091030691100570001</cx:pt>
          <cx:pt idx="2091">0.043599027193528497</cx:pt>
          <cx:pt idx="2092">0.086469175878908497</cx:pt>
          <cx:pt idx="2093">0.042871036414907103</cx:pt>
          <cx:pt idx="2094">-0.17134630929553299</cx:pt>
          <cx:pt idx="2095">0.12969780760866201</cx:pt>
          <cx:pt idx="2096">0.066096943259094806</cx:pt>
          <cx:pt idx="2097">-0.056374151882401601</cx:pt>
          <cx:pt idx="2098">0.041206383942843303</cx:pt>
          <cx:pt idx="2099">0.0202226040401687</cx:pt>
          <cx:pt idx="2100">0.017699228968997002</cx:pt>
          <cx:pt idx="2101">0.031770869430038297</cx:pt>
          <cx:pt idx="2102">0.077161867773735002</cx:pt>
          <cx:pt idx="2103">0.030297345615058001</cx:pt>
          <cx:pt idx="2104">0.10832200693691101</cx:pt>
          <cx:pt idx="2105">0.046879322345003603</cx:pt>
          <cx:pt idx="2106">0.041707614802603099</cx:pt>
          <cx:pt idx="2107">-0.0070016016976547999</cx:pt>
          <cx:pt idx="2108">0.109547660017461</cx:pt>
          <cx:pt idx="2109">0.026322254420989899</cx:pt>
          <cx:pt idx="2110">0.021781768364191899</cx:pt>
          <cx:pt idx="2111">0.0146082430953598</cx:pt>
          <cx:pt idx="2112">0.061431444921446199</cx:pt>
          <cx:pt idx="2113">0.0712669103554011</cx:pt>
          <cx:pt idx="2114">0.067263266224013393</cx:pt>
          <cx:pt idx="2115">-0.024168296584694299</cx:pt>
          <cx:pt idx="2116">-0.034248629070166098</cx:pt>
          <cx:pt idx="2117">0.15371275946935201</cx:pt>
          <cx:pt idx="2118">0.079148335172463904</cx:pt>
          <cx:pt idx="2119">0.076979519665258997</cx:pt>
          <cx:pt idx="2120">0.0101659225420781</cx:pt>
          <cx:pt idx="2121">-0.036913424167868199</cx:pt>
          <cx:pt idx="2122">0.0235426417512235</cx:pt>
          <cx:pt idx="2123">0.113781103891236</cx:pt>
          <cx:pt idx="2124">0.088402614103330196</cx:pt>
          <cx:pt idx="2125">0.023061332474301002</cx:pt>
          <cx:pt idx="2126">-0.0297583939134922</cx:pt>
          <cx:pt idx="2127">0.10205220733543401</cx:pt>
          <cx:pt idx="2128">0.0601433852240933</cx:pt>
          <cx:pt idx="2129">-0.066276697860376793</cx:pt>
          <cx:pt idx="2130">0.074562187056832804</cx:pt>
          <cx:pt idx="2131">0.0175812391141816</cx:pt>
          <cx:pt idx="2132">0.039654818169884198</cx:pt>
          <cx:pt idx="2133">-0.0519602261643397</cx:pt>
          <cx:pt idx="2134">-0.13576952463810801</cx:pt>
          <cx:pt idx="2135">-0.0039882025009889003</cx:pt>
          <cx:pt idx="2136">0.036997411529214798</cx:pt>
          <cx:pt idx="2137">0.14735608863609301</cx:pt>
          <cx:pt idx="2138">0.13627055619244499</cx:pt>
          <cx:pt idx="2139">-0.11532673779144</cx:pt>
          <cx:pt idx="2140">0.11796942475484801</cx:pt>
          <cx:pt idx="2141">0.100857497257635</cx:pt>
          <cx:pt idx="2142">0.097101997691284803</cx:pt>
          <cx:pt idx="2143">-0.0017530728086271</cx:pt>
          <cx:pt idx="2144">0.061120204108110802</cx:pt>
          <cx:pt idx="2145">0.061396861655487203</cx:pt>
          <cx:pt idx="2146">0.11160087938171601</cx:pt>
          <cx:pt idx="2147">0.021479049485782199</cx:pt>
          <cx:pt idx="2148">0.069288260323645504</cx:pt>
          <cx:pt idx="2149">0.0031103676614178</cx:pt>
          <cx:pt idx="2150">-0.066592785952356806</cx:pt>
          <cx:pt idx="2151">0.084640309866663294</cx:pt>
          <cx:pt idx="2152">-0.028817386543075502</cx:pt>
          <cx:pt idx="2153">0.121194087819661</cx:pt>
          <cx:pt idx="2154">0.0073154199893902001</cx:pt>
          <cx:pt idx="2155">0.072387753851184206</cx:pt>
          <cx:pt idx="2156">0.113827370546186</cx:pt>
          <cx:pt idx="2157">0.0442811918405729</cx:pt>
          <cx:pt idx="2158">-0.0934588835084178</cx:pt>
          <cx:pt idx="2159">0.016089946810401799</cx:pt>
          <cx:pt idx="2160">0.110313182659016</cx:pt>
          <cx:pt idx="2161">-0.053660141456065701</cx:pt>
          <cx:pt idx="2162">-0.018357634286640001</cx:pt>
          <cx:pt idx="2163">-0.0226250201758426</cx:pt>
          <cx:pt idx="2164">-0.029053160531510899</cx:pt>
          <cx:pt idx="2165">-0.073278283748441697</cx:pt>
          <cx:pt idx="2166">-0.022669759518532801</cx:pt>
          <cx:pt idx="2167">0.095174330210617206</cx:pt>
          <cx:pt idx="2168">0.108189781533199</cx:pt>
          <cx:pt idx="2169">0.074888344958837103</cx:pt>
          <cx:pt idx="2170">-0.113896908117139</cx:pt>
          <cx:pt idx="2171">0.037393422317994397</cx:pt>
          <cx:pt idx="2172">0.0545425814088197</cx:pt>
          <cx:pt idx="2173">0.10873684502388101</cx:pt>
          <cx:pt idx="2174">-0.029717222896747698</cx:pt>
          <cx:pt idx="2175">-0.017152167305298699</cx:pt>
          <cx:pt idx="2176">-0.0154933738019881</cx:pt>
          <cx:pt idx="2177">0.083512137072137005</cx:pt>
          <cx:pt idx="2178">-0.0036100011374623998</cx:pt>
          <cx:pt idx="2179">0.026920876186183801</cx:pt>
          <cx:pt idx="2180">0.097123991473024002</cx:pt>
          <cx:pt idx="2181">-0.083904803832969596</cx:pt>
          <cx:pt idx="2182">0.057125797277883597</cx:pt>
          <cx:pt idx="2183">-0.038197819152704801</cx:pt>
          <cx:pt idx="2184">0.059070115753103801</cx:pt>
          <cx:pt idx="2185">0.020508343056248199</cx:pt>
          <cx:pt idx="2186">0.12749101915671701</cx:pt>
          <cx:pt idx="2187">0.096616170012153099</cx:pt>
          <cx:pt idx="2188">0.122912334467142</cx:pt>
          <cx:pt idx="2189">0.061929548445543298</cx:pt>
          <cx:pt idx="2190">0.129359436284948</cx:pt>
          <cx:pt idx="2191">-0.028177540408004999</cx:pt>
          <cx:pt idx="2192">0.036888065520018103</cx:pt>
          <cx:pt idx="2193">0.049203922722946401</cx:pt>
          <cx:pt idx="2194">0.0076673221554438998</cx:pt>
          <cx:pt idx="2195">-0.10713871048421</cx:pt>
          <cx:pt idx="2196">-0.0013968285052308</cx:pt>
          <cx:pt idx="2197">-0.0072433099926247002</cx:pt>
          <cx:pt idx="2198">0.024752433588014398</cx:pt>
          <cx:pt idx="2199">-0.020445849352936401</cx:pt>
          <cx:pt idx="2200">0.034616900381185998</cx:pt>
          <cx:pt idx="2201">0.10707100878219</cx:pt>
          <cx:pt idx="2202">-0.0236352688066</cx:pt>
          <cx:pt idx="2203">-0.030195914408468999</cx:pt>
          <cx:pt idx="2204">0.033744236827957401</cx:pt>
          <cx:pt idx="2205">0.14829502027876501</cx:pt>
          <cx:pt idx="2206">0.088145044254208896</cx:pt>
          <cx:pt idx="2207">-0.11283711273081801</cx:pt>
          <cx:pt idx="2208">-0.111710204238139</cx:pt>
          <cx:pt idx="2209">-0.019752824759360101</cx:pt>
          <cx:pt idx="2210">0.12727131868104999</cx:pt>
          <cx:pt idx="2211">-0.099432739772297898</cx:pt>
          <cx:pt idx="2212">0.12130946018914</cx:pt>
          <cx:pt idx="2213">0.132666824963309</cx:pt>
          <cx:pt idx="2214">0.071912542481666397</cx:pt>
          <cx:pt idx="2215">-0.047166259844954601</cx:pt>
          <cx:pt idx="2216">-0.057591931510877797</cx:pt>
          <cx:pt idx="2217">0.103432246886521</cx:pt>
          <cx:pt idx="2218">0.068983869442542201</cx:pt>
          <cx:pt idx="2219">0.045327898465538703</cx:pt>
          <cx:pt idx="2220">0.0568436523179933</cx:pt>
          <cx:pt idx="2221">0.10844041164306099</cx:pt>
          <cx:pt idx="2222">-0.035561012329660899</cx:pt>
          <cx:pt idx="2223">-0.103879928056439</cx:pt>
          <cx:pt idx="2224">0.084979309401545605</cx:pt>
          <cx:pt idx="2225">0.089015898800759996</cx:pt>
          <cx:pt idx="2226">0.13326844433343499</cx:pt>
          <cx:pt idx="2227">0.079506520933408195</cx:pt>
          <cx:pt idx="2228">0.064927794350979798</cx:pt>
          <cx:pt idx="2229">0.022998312393707501</cx:pt>
          <cx:pt idx="2230">0.120357915223956</cx:pt>
          <cx:pt idx="2231">0.116787317095743</cx:pt>
          <cx:pt idx="2232">0.0019628932004891</cx:pt>
          <cx:pt idx="2233">0.037830672424203501</cx:pt>
          <cx:pt idx="2234">0.0125491558998176</cx:pt>
          <cx:pt idx="2235">0.036332566885818499</cx:pt>
          <cx:pt idx="2236">0.0032863084875516999</cx:pt>
          <cx:pt idx="2237">0.01510022093699</cx:pt>
          <cx:pt idx="2238">0.099028512820863807</cx:pt>
          <cx:pt idx="2239">-0.00019968680399389999</cx:pt>
          <cx:pt idx="2240">-0.061221275817842001</cx:pt>
          <cx:pt idx="2241">0.10169391172753001</cx:pt>
          <cx:pt idx="2242">0.0511138217943541</cx:pt>
          <cx:pt idx="2243">0.049972925897583897</cx:pt>
          <cx:pt idx="2244">0.018423099028863001</cx:pt>
          <cx:pt idx="2245">0.093985756202460996</cx:pt>
          <cx:pt idx="2246">-0.0269081383915299</cx:pt>
          <cx:pt idx="2247">0.089381162097672703</cx:pt>
          <cx:pt idx="2248">0.0105788307746017</cx:pt>
          <cx:pt idx="2249">0.18297310094024499</cx:pt>
          <cx:pt idx="2250">0.0240595703774719</cx:pt>
          <cx:pt idx="2251">0.043356192825821802</cx:pt>
          <cx:pt idx="2252">-0.0010222312561078001</cx:pt>
          <cx:pt idx="2253">0.156656669549432</cx:pt>
          <cx:pt idx="2254">0.0090071968783610006</cx:pt>
          <cx:pt idx="2255">0.059194730062365898</cx:pt>
          <cx:pt idx="2256">0.119540570910109</cx:pt>
          <cx:pt idx="2257">0.099374515045389702</cx:pt>
          <cx:pt idx="2258">0.0087630106534839006</cx:pt>
          <cx:pt idx="2259">-0.076450308881027607</cx:pt>
          <cx:pt idx="2260">-0.116220650462333</cx:pt>
          <cx:pt idx="2261">0.16428988187194801</cx:pt>
          <cx:pt idx="2262">-0.00094145902031049999</cx:pt>
          <cx:pt idx="2263">-0.0383418712215466</cx:pt>
          <cx:pt idx="2264">0.118248450063151</cx:pt>
          <cx:pt idx="2265">-0.042661421562332602</cx:pt>
          <cx:pt idx="2266">0.0696572762801069</cx:pt>
          <cx:pt idx="2267">0.124107005087912</cx:pt>
          <cx:pt idx="2268">0.037338513850814603</cx:pt>
          <cx:pt idx="2269">0.043735740626656701</cx:pt>
          <cx:pt idx="2270">0.078780479418477101</cx:pt>
          <cx:pt idx="2271">0.098394884122050094</cx:pt>
          <cx:pt idx="2272">0.094294014180624899</cx:pt>
          <cx:pt idx="2273">0.043294073229120697</cx:pt>
          <cx:pt idx="2274">-0.0090363616634863003</cx:pt>
          <cx:pt idx="2275">0.065627681816655806</cx:pt>
          <cx:pt idx="2276">0.053596586042969997</cx:pt>
          <cx:pt idx="2277">0.109997083505014</cx:pt>
          <cx:pt idx="2278">0.053423165894216702</cx:pt>
          <cx:pt idx="2279">-0.0072892433106111999</cx:pt>
          <cx:pt idx="2280">-0.0016317177186265001</cx:pt>
          <cx:pt idx="2281">0.070530185957708394</cx:pt>
          <cx:pt idx="2282">0.0355755564953033</cx:pt>
          <cx:pt idx="2283">0.053315132972875101</cx:pt>
          <cx:pt idx="2284">-0.0283782085265828</cx:pt>
          <cx:pt idx="2285">0.045252279711840003</cx:pt>
          <cx:pt idx="2286">0.087103150822009701</cx:pt>
          <cx:pt idx="2287">0.0606712778230604</cx:pt>
          <cx:pt idx="2288">0.019724742989824101</cx:pt>
          <cx:pt idx="2289">0.112867241057482</cx:pt>
          <cx:pt idx="2290">0.085609592647204302</cx:pt>
          <cx:pt idx="2291">0.047851236459497501</cx:pt>
          <cx:pt idx="2292">0.069860439997386503</cx:pt>
          <cx:pt idx="2293">-0.0048882793415828997</cx:pt>
          <cx:pt idx="2294">-0.0120885857109942</cx:pt>
          <cx:pt idx="2295">-0.054440521087344797</cx:pt>
          <cx:pt idx="2296">-0.063774770406592907</cx:pt>
          <cx:pt idx="2297">0.13031624672934999</cx:pt>
          <cx:pt idx="2298">-0.070558420155055798</cx:pt>
          <cx:pt idx="2299">0.130397852426794</cx:pt>
          <cx:pt idx="2300">0.10923578191471001</cx:pt>
          <cx:pt idx="2301">-0.0087299240345244007</cx:pt>
          <cx:pt idx="2302">0.042316595497455201</cx:pt>
          <cx:pt idx="2303">-0.169023872000786</cx:pt>
          <cx:pt idx="2304">-0.0386890463906936</cx:pt>
          <cx:pt idx="2305">-0.043393431276204597</cx:pt>
          <cx:pt idx="2306">0.076972515586320497</cx:pt>
          <cx:pt idx="2307">-0.030244451491664701</cx:pt>
          <cx:pt idx="2308">0.107546856131706</cx:pt>
          <cx:pt idx="2309">0.0057260248627193002</cx:pt>
          <cx:pt idx="2310">0.075965647625034799</cx:pt>
          <cx:pt idx="2311">-0.018785166335992001</cx:pt>
          <cx:pt idx="2312">0.056431265476758703</cx:pt>
          <cx:pt idx="2313">-0.0579250576970343</cx:pt>
          <cx:pt idx="2314">-0.019259047937070301</cx:pt>
          <cx:pt idx="2315">0.021094494780924899</cx:pt>
          <cx:pt idx="2316">0.0141713781042026</cx:pt>
          <cx:pt idx="2317">0.0019218918576197001</cx:pt>
          <cx:pt idx="2318">0.033575203782125897</cx:pt>
          <cx:pt idx="2319">-0.0149339578602173</cx:pt>
          <cx:pt idx="2320">-0.0119696092366643</cx:pt>
          <cx:pt idx="2321">0.19347846130246299</cx:pt>
          <cx:pt idx="2322">-0.026595592614272998</cx:pt>
          <cx:pt idx="2323">0.16399465745379099</cx:pt>
          <cx:pt idx="2324">0.060576723600473802</cx:pt>
          <cx:pt idx="2325">-0.016579414870367699</cx:pt>
          <cx:pt idx="2326">0.095937430255197298</cx:pt>
          <cx:pt idx="2327">0.057239588531765098</cx:pt>
          <cx:pt idx="2328">0.060248535596717299</cx:pt>
          <cx:pt idx="2329">0.109428411044363</cx:pt>
          <cx:pt idx="2330">0.18219099398927999</cx:pt>
          <cx:pt idx="2331">-0.0067029150424799998</cx:pt>
          <cx:pt idx="2332">0.085556494043351403</cx:pt>
          <cx:pt idx="2333">0.086924267239177205</cx:pt>
          <cx:pt idx="2334">0.0471615954888965</cx:pt>
          <cx:pt idx="2335">0.080769952260319203</cx:pt>
          <cx:pt idx="2336">0.105239821985691</cx:pt>
          <cx:pt idx="2337">-0.014374486777261299</cx:pt>
          <cx:pt idx="2338">0.138849597696346</cx:pt>
          <cx:pt idx="2339">0.086179007020933396</cx:pt>
          <cx:pt idx="2340">0.102139737176639</cx:pt>
          <cx:pt idx="2341">0.104409476693029</cx:pt>
          <cx:pt idx="2342">0.079608990568590998</cx:pt>
          <cx:pt idx="2343">0.0082093941418070002</cx:pt>
          <cx:pt idx="2344">0.041760965100698502</cx:pt>
          <cx:pt idx="2345">0.020624850927830798</cx:pt>
          <cx:pt idx="2346">0.083386855357706499</cx:pt>
          <cx:pt idx="2347">0.033942565261938999</cx:pt>
          <cx:pt idx="2348">0.047841379056032397</cx:pt>
          <cx:pt idx="2349">-0.035888987753657002</cx:pt>
          <cx:pt idx="2350">0.124098609257764</cx:pt>
          <cx:pt idx="2351">0.066540025969636804</cx:pt>
          <cx:pt idx="2352">0.041220465463811501</cx:pt>
          <cx:pt idx="2353">0.118816917372151</cx:pt>
          <cx:pt idx="2354">0.085095485880255894</cx:pt>
          <cx:pt idx="2355">0.078705748370940201</cx:pt>
          <cx:pt idx="2356">-0.038829527177963202</cx:pt>
          <cx:pt idx="2357">-0.040391107815548298</cx:pt>
          <cx:pt idx="2358">-0.10297720882690201</cx:pt>
          <cx:pt idx="2359">0.049994787091101403</cx:pt>
          <cx:pt idx="2360">0.106517764270567</cx:pt>
          <cx:pt idx="2361">0.029629592285922199</cx:pt>
          <cx:pt idx="2362">0.015772909306591198</cx:pt>
          <cx:pt idx="2363">0.010672394528759401</cx:pt>
          <cx:pt idx="2364">0.13093898099684201</cx:pt>
          <cx:pt idx="2365">0.081650957502939395</cx:pt>
          <cx:pt idx="2366">0.022593225872296702</cx:pt>
          <cx:pt idx="2367">0.055617418287885197</cx:pt>
          <cx:pt idx="2368">0.045856358580693903</cx:pt>
          <cx:pt idx="2369">0.0948827187877085</cx:pt>
          <cx:pt idx="2370">0.0205673002929199</cx:pt>
          <cx:pt idx="2371">-0.035296382324320801</cx:pt>
          <cx:pt idx="2372">0.086615045075176894</cx:pt>
          <cx:pt idx="2373">0.153674390530982</cx:pt>
          <cx:pt idx="2374">0.075220805799937396</cx:pt>
          <cx:pt idx="2375">0.013616935352206899</cx:pt>
          <cx:pt idx="2376">0.076594970470343499</cx:pt>
          <cx:pt idx="2377">0.0020467837675710999</cx:pt>
          <cx:pt idx="2378">-0.0146682244285382</cx:pt>
          <cx:pt idx="2379">0.085248034771418998</cx:pt>
          <cx:pt idx="2380">0.026276282689295299</cx:pt>
          <cx:pt idx="2381">0.0036683718284810998</cx:pt>
          <cx:pt idx="2382">-0.0504043047182531</cx:pt>
          <cx:pt idx="2383">-0.022121087908328601</cx:pt>
          <cx:pt idx="2384">0.187299242753838</cx:pt>
          <cx:pt idx="2385">-0.0136578927273278</cx:pt>
          <cx:pt idx="2386">0.13078925967121099</cx:pt>
          <cx:pt idx="2387">0.11319020892274299</cx:pt>
          <cx:pt idx="2388">-0.404055750720484</cx:pt>
          <cx:pt idx="2389">0.042572894929221998</cx:pt>
          <cx:pt idx="2390">0.054208910322158001</cx:pt>
          <cx:pt idx="2391">0.117375431881871</cx:pt>
          <cx:pt idx="2392">-0.032593506346469001</cx:pt>
          <cx:pt idx="2393">0.092509744566066601</cx:pt>
          <cx:pt idx="2394">0.068395406519090998</cx:pt>
          <cx:pt idx="2395">0.027429430657144298</cx:pt>
          <cx:pt idx="2396">-0.058924276145344803</cx:pt>
          <cx:pt idx="2397">0.0070502194567913</cx:pt>
          <cx:pt idx="2398">0.024208291296746499</cx:pt>
          <cx:pt idx="2399">0.0273216056088228</cx:pt>
          <cx:pt idx="2400">0.15076252828379899</cx:pt>
          <cx:pt idx="2401">0.0099857765543379991</cx:pt>
          <cx:pt idx="2402">0.028195750651431699</cx:pt>
          <cx:pt idx="2403">0.076750320307721304</cx:pt>
          <cx:pt idx="2404">0.113508621297929</cx:pt>
          <cx:pt idx="2405">0.131379019245561</cx:pt>
          <cx:pt idx="2406">0.073326777198244902</cx:pt>
          <cx:pt idx="2407">0.119877347683887</cx:pt>
          <cx:pt idx="2408">-0.081068161638317607</cx:pt>
          <cx:pt idx="2409">0.090827149415711197</cx:pt>
          <cx:pt idx="2410">0.041617300627085199</cx:pt>
          <cx:pt idx="2411">-0.133435488747223</cx:pt>
          <cx:pt idx="2412">-0.0094269305779308993</cx:pt>
          <cx:pt idx="2413">0.0067898042537316997</cx:pt>
          <cx:pt idx="2414">-0.061199562065786202</cx:pt>
          <cx:pt idx="2415">0.097797136787336994</cx:pt>
          <cx:pt idx="2416">0.088754674641219</cx:pt>
          <cx:pt idx="2417">0.0147761120007401</cx:pt>
          <cx:pt idx="2418">-0.0170359921676283</cx:pt>
          <cx:pt idx="2419">0.085569578335157298</cx:pt>
          <cx:pt idx="2420">0.15128971666049901</cx:pt>
          <cx:pt idx="2421">0.036247069975054502</cx:pt>
          <cx:pt idx="2422">0.0050052437090474999</cx:pt>
          <cx:pt idx="2423">-0.0057233792400578996</cx:pt>
          <cx:pt idx="2424">0.038307855716006999</cx:pt>
          <cx:pt idx="2425">0.013310159712628101</cx:pt>
          <cx:pt idx="2426">0.057941775647494399</cx:pt>
          <cx:pt idx="2427">0.048015551822685298</cx:pt>
          <cx:pt idx="2428">0.021963838176224101</cx:pt>
          <cx:pt idx="2429">0.075892333327575404</cx:pt>
          <cx:pt idx="2430">0.022652016090222899</cx:pt>
          <cx:pt idx="2431">-0.024596278380697102</cx:pt>
          <cx:pt idx="2432">0.096380503794031999</cx:pt>
          <cx:pt idx="2433">0.0666962190674278</cx:pt>
          <cx:pt idx="2434">0.117616739934467</cx:pt>
          <cx:pt idx="2435">0.022741473873172199</cx:pt>
          <cx:pt idx="2436">0.12951209643310599</cx:pt>
          <cx:pt idx="2437">0.025646492135383399</cx:pt>
          <cx:pt idx="2438">0.0132472597759405</cx:pt>
          <cx:pt idx="2439">0.054330768400625798</cx:pt>
          <cx:pt idx="2440">0.033190747760132103</cx:pt>
          <cx:pt idx="2441">0.050496509535656799</cx:pt>
          <cx:pt idx="2442">0.10320289583803199</cx:pt>
          <cx:pt idx="2443">0.119909292204586</cx:pt>
          <cx:pt idx="2444">0.051268422807323202</cx:pt>
          <cx:pt idx="2445">0.0244834290904445</cx:pt>
          <cx:pt idx="2446">0.102157193754144</cx:pt>
          <cx:pt idx="2447">0.115705626048674</cx:pt>
          <cx:pt idx="2448">-0.048719570321581002</cx:pt>
          <cx:pt idx="2449">-0.0172861480125889</cx:pt>
          <cx:pt idx="2450">0.075994446068567506</cx:pt>
          <cx:pt idx="2451">0.027672974119712899</cx:pt>
          <cx:pt idx="2452">0.12739397662555399</cx:pt>
          <cx:pt idx="2453">-7.8323554377007694e-05</cx:pt>
          <cx:pt idx="2454">0.0034815079253519001</cx:pt>
          <cx:pt idx="2455">0.047297830211160199</cx:pt>
          <cx:pt idx="2456">0.034159420751476897</cx:pt>
          <cx:pt idx="2457">0.094470477817208298</cx:pt>
          <cx:pt idx="2458">-0.068492693273025596</cx:pt>
          <cx:pt idx="2459">0.12680489493568201</cx:pt>
          <cx:pt idx="2460">-0.045117184725892802</cx:pt>
          <cx:pt idx="2461">0.030794918707084298</cx:pt>
          <cx:pt idx="2462">0.020585201284366399</cx:pt>
          <cx:pt idx="2463">-0.0413022009605497</cx:pt>
          <cx:pt idx="2464">0.0166272571189338</cx:pt>
          <cx:pt idx="2465">0.13072944800342901</cx:pt>
          <cx:pt idx="2466">0.087386679441698603</cx:pt>
          <cx:pt idx="2467">0.134893178162237</cx:pt>
          <cx:pt idx="2468">0.087825489031091997</cx:pt>
          <cx:pt idx="2469">-0.046064267755449001</cx:pt>
          <cx:pt idx="2470">0.026938484167483401</cx:pt>
          <cx:pt idx="2471">-0.079253010582339398</cx:pt>
          <cx:pt idx="2472">0.075128102899484905</cx:pt>
          <cx:pt idx="2473">0.059799578313262901</cx:pt>
          <cx:pt idx="2474">0.12090262137921701</cx:pt>
          <cx:pt idx="2475">0.0143359766435039</cx:pt>
          <cx:pt idx="2476">0.104217617664409</cx:pt>
          <cx:pt idx="2477">0.0285304362539428</cx:pt>
          <cx:pt idx="2478">0.054790353004952101</cx:pt>
          <cx:pt idx="2479">-0.097846708299874699</cx:pt>
          <cx:pt idx="2480">0.158442440086043</cx:pt>
          <cx:pt idx="2481">0.047124507585964703</cx:pt>
          <cx:pt idx="2482">0.088487451250344601</cx:pt>
          <cx:pt idx="2483">0.10427948856725899</cx:pt>
          <cx:pt idx="2484">-0.055986172163852398</cx:pt>
          <cx:pt idx="2485">0.024456070523147699</cx:pt>
          <cx:pt idx="2486">0.041517018264088199</cx:pt>
          <cx:pt idx="2487">0.098682468202238194</cx:pt>
          <cx:pt idx="2488">0.069341396103812805</cx:pt>
          <cx:pt idx="2489">0.092000212287082203</cx:pt>
          <cx:pt idx="2490">0.051570444396367598</cx:pt>
          <cx:pt idx="2491">0.122426437928932</cx:pt>
          <cx:pt idx="2492">0.041574777762010899</cx:pt>
          <cx:pt idx="2493">-0.067002400213651003</cx:pt>
          <cx:pt idx="2494">-0.028154854463810702</cx:pt>
          <cx:pt idx="2495">0.040770100032729198</cx:pt>
          <cx:pt idx="2496">-0.017172665313286501</cx:pt>
          <cx:pt idx="2497">0.11716206300279999</cx:pt>
          <cx:pt idx="2498">0.048662003947660099</cx:pt>
          <cx:pt idx="2499">0.105569264974996</cx:pt>
          <cx:pt idx="2500">0.095794293955826698</cx:pt>
          <cx:pt idx="2501">0.172390666561788</cx:pt>
          <cx:pt idx="2502">0.080848611384475105</cx:pt>
          <cx:pt idx="2503">0.0192353742812039</cx:pt>
          <cx:pt idx="2504">0.0058953655126665</cx:pt>
          <cx:pt idx="2505">0.034765577697909299</cx:pt>
          <cx:pt idx="2506">0.106079561923019</cx:pt>
          <cx:pt idx="2507">0.073548887703268603</cx:pt>
          <cx:pt idx="2508">0.089201565591425794</cx:pt>
          <cx:pt idx="2509">0.063186531345218094</cx:pt>
          <cx:pt idx="2510">-0.0201786602079027</cx:pt>
          <cx:pt idx="2511">0.0118676175896916</cx:pt>
          <cx:pt idx="2512">0.020277750187731401</cx:pt>
          <cx:pt idx="2513">0.0019364997969363001</cx:pt>
          <cx:pt idx="2514">0.0439644771345232</cx:pt>
          <cx:pt idx="2515">0.0089344892967040002</cx:pt>
          <cx:pt idx="2516">-0.0065556293906190001</cx:pt>
          <cx:pt idx="2517">0.041010938908922302</cx:pt>
          <cx:pt idx="2518">-0.051489157081133802</cx:pt>
          <cx:pt idx="2519">0.0028056558900327001</cx:pt>
          <cx:pt idx="2520">-0.0035791847185078999</cx:pt>
          <cx:pt idx="2521">0.070883296444049199</cx:pt>
        </cx:lvl>
      </cx:numDim>
    </cx:data>
  </cx:chartData>
  <cx:chart>
    <cx:plotArea>
      <cx:plotAreaRegion>
        <cx:series layoutId="clusteredColumn" uniqueId="{B66C5B4D-57A0-4262-A69A-BD2D12A58D92}">
          <cx:tx>
            <cx:txData>
              <cx:f>Sheet1!$D$1</cx:f>
              <cx:v>Distribution of Uplift</cx:v>
            </cx:txData>
          </cx:tx>
          <cx:dataLabels pos="outEnd">
            <cx:txPr>
              <a:bodyPr vertOverflow="overflow" horzOverflow="overflow" wrap="square" lIns="0" tIns="0" rIns="0" bIns="0"/>
              <a:lstStyle/>
              <a:p>
                <a:pPr algn="ctr" rtl="0">
                  <a:defRPr lang="en-US" sz="1050">
                    <a:solidFill>
                      <a:schemeClr val="bg1"/>
                    </a:solidFill>
                  </a:defRPr>
                </a:pPr>
                <a:endParaRPr lang="en-US" sz="1050">
                  <a:solidFill>
                    <a:schemeClr val="bg1"/>
                  </a:solidFill>
                </a:endParaRPr>
              </a:p>
            </cx:txPr>
            <cx:visibility seriesName="0" categoryName="0" value="1"/>
          </cx:dataLabels>
          <cx:dataId val="0"/>
          <cx:layoutPr>
            <cx:binning intervalClosed="r"/>
          </cx:layoutPr>
        </cx:series>
      </cx:plotAreaRegion>
      <cx:axis id="0">
        <cx:catScaling gapWidth="0"/>
        <cx:majorTickMarks type="out"/>
        <cx:tickLabels/>
        <cx:txPr>
          <a:bodyPr vertOverflow="overflow" horzOverflow="overflow" wrap="square" lIns="0" tIns="0" rIns="0" bIns="0"/>
          <a:lstStyle/>
          <a:p>
            <a:pPr algn="ctr" rtl="0">
              <a:defRPr lang="en-US" sz="800">
                <a:solidFill>
                  <a:schemeClr val="bg1"/>
                </a:solidFill>
              </a:defRPr>
            </a:pPr>
            <a:endParaRPr lang="en-US" sz="800">
              <a:solidFill>
                <a:schemeClr val="bg1"/>
              </a:solidFill>
            </a:endParaRPr>
          </a:p>
        </cx:txPr>
      </cx:axis>
      <cx:axis id="1">
        <cx:valScaling/>
        <cx:majorTickMarks type="out"/>
        <cx:tickLabels/>
        <cx:txPr>
          <a:bodyPr vertOverflow="overflow" horzOverflow="overflow" wrap="square" lIns="0" tIns="0" rIns="0" bIns="0"/>
          <a:lstStyle/>
          <a:p>
            <a:pPr algn="ctr" rtl="0">
              <a:defRPr lang="en-US" sz="1200"/>
            </a:pPr>
            <a:endParaRPr lang="en-US" sz="1200"/>
          </a:p>
        </cx:txPr>
      </cx:axis>
    </cx:plotArea>
    <cx:legend pos="t" align="ctr" overlay="0">
      <cx:txPr>
        <a:bodyPr spcFirstLastPara="1" vertOverflow="ellipsis" horzOverflow="overflow" wrap="square" lIns="0" tIns="0" rIns="0" bIns="0" anchor="ctr" anchorCtr="1"/>
        <a:lstStyle/>
        <a:p>
          <a:pPr algn="ctr" rtl="0">
            <a:defRPr>
              <a:solidFill>
                <a:schemeClr val="bg1"/>
              </a:solidFill>
            </a:defRPr>
          </a:pPr>
          <a:endParaRPr lang="en-US" sz="900" b="0" i="0" u="none" strike="noStrike" baseline="0">
            <a:solidFill>
              <a:schemeClr val="bg1"/>
            </a:solidFill>
            <a:latin typeface="Arial" panose="020B0604020202020204"/>
          </a:endParaRPr>
        </a:p>
      </cx:txPr>
    </cx:legend>
  </cx:chart>
  <cx:spPr>
    <a:ln>
      <a:solidFill>
        <a:schemeClr val="accent1">
          <a:lumMod val="20000"/>
          <a:lumOff val="80000"/>
        </a:schemeClr>
      </a:solidFill>
    </a:ln>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5673D4-9D23-4FA2-AEF5-140D11B6DDB1}" type="doc">
      <dgm:prSet loTypeId="urn:microsoft.com/office/officeart/2005/8/layout/chevron2" loCatId="list" qsTypeId="urn:microsoft.com/office/officeart/2005/8/quickstyle/simple1" qsCatId="simple" csTypeId="urn:microsoft.com/office/officeart/2005/8/colors/accent2_5" csCatId="accent2" phldr="1"/>
      <dgm:spPr/>
      <dgm:t>
        <a:bodyPr/>
        <a:lstStyle/>
        <a:p>
          <a:endParaRPr lang="en-US"/>
        </a:p>
      </dgm:t>
    </dgm:pt>
    <dgm:pt modelId="{386C35E0-D4B1-40F4-9F87-782B161A6ADA}">
      <dgm:prSet phldrT="[Text]" custT="1"/>
      <dgm:spPr>
        <a:ln>
          <a:solidFill>
            <a:schemeClr val="bg2">
              <a:alpha val="90000"/>
            </a:schemeClr>
          </a:solidFill>
        </a:ln>
      </dgm:spPr>
      <dgm:t>
        <a:bodyPr/>
        <a:lstStyle/>
        <a:p>
          <a:r>
            <a:rPr lang="en-US" sz="2400" b="1">
              <a:solidFill>
                <a:schemeClr val="tx1"/>
              </a:solidFill>
              <a:latin typeface="Aptos" panose="020B0004020202020204" pitchFamily="34" charset="0"/>
            </a:rPr>
            <a:t>1</a:t>
          </a:r>
        </a:p>
      </dgm:t>
    </dgm:pt>
    <dgm:pt modelId="{842883AC-8BDB-4C78-92DE-740695809C29}" type="parTrans" cxnId="{0F9FE98E-DC30-4571-97FD-14705717F548}">
      <dgm:prSet/>
      <dgm:spPr/>
      <dgm:t>
        <a:bodyPr/>
        <a:lstStyle/>
        <a:p>
          <a:endParaRPr lang="en-US"/>
        </a:p>
      </dgm:t>
    </dgm:pt>
    <dgm:pt modelId="{12F86109-054D-4BA7-9A56-153E080172EE}" type="sibTrans" cxnId="{0F9FE98E-DC30-4571-97FD-14705717F548}">
      <dgm:prSet/>
      <dgm:spPr/>
      <dgm:t>
        <a:bodyPr/>
        <a:lstStyle/>
        <a:p>
          <a:endParaRPr lang="en-US"/>
        </a:p>
      </dgm:t>
    </dgm:pt>
    <dgm:pt modelId="{0501AAB0-2D41-44FD-A39D-D234B3CE531E}">
      <dgm:prSet phldrT="[Text]" custT="1"/>
      <dgm:spPr/>
      <dgm:t>
        <a:bodyPr/>
        <a:lstStyle/>
        <a:p>
          <a:r>
            <a:rPr lang="en-US" sz="1400" dirty="0">
              <a:latin typeface="Aptos" panose="020B0004020202020204" pitchFamily="34" charset="0"/>
            </a:rPr>
            <a:t>Spend ample amount of time to understand other data sources affecting effectiveness. Consider looking into macro economic factors.</a:t>
          </a:r>
        </a:p>
      </dgm:t>
    </dgm:pt>
    <dgm:pt modelId="{3795D5C3-3893-4DCD-975B-81E2993AF4C9}" type="parTrans" cxnId="{AE1325F8-520F-42DF-9B7C-13126267E6B3}">
      <dgm:prSet/>
      <dgm:spPr/>
      <dgm:t>
        <a:bodyPr/>
        <a:lstStyle/>
        <a:p>
          <a:endParaRPr lang="en-US"/>
        </a:p>
      </dgm:t>
    </dgm:pt>
    <dgm:pt modelId="{E700D9E2-D4CE-446D-9E22-A31564169E0C}" type="sibTrans" cxnId="{AE1325F8-520F-42DF-9B7C-13126267E6B3}">
      <dgm:prSet/>
      <dgm:spPr/>
      <dgm:t>
        <a:bodyPr/>
        <a:lstStyle/>
        <a:p>
          <a:endParaRPr lang="en-US"/>
        </a:p>
      </dgm:t>
    </dgm:pt>
    <dgm:pt modelId="{864EEF5A-8FDA-41A8-BF56-D1D0CD36D66B}">
      <dgm:prSet phldrT="[Text]" custT="1"/>
      <dgm:spPr>
        <a:ln>
          <a:solidFill>
            <a:schemeClr val="bg2">
              <a:alpha val="80000"/>
            </a:schemeClr>
          </a:solidFill>
        </a:ln>
      </dgm:spPr>
      <dgm:t>
        <a:bodyPr/>
        <a:lstStyle/>
        <a:p>
          <a:r>
            <a:rPr lang="en-US" sz="2400" b="1">
              <a:solidFill>
                <a:schemeClr val="tx1"/>
              </a:solidFill>
              <a:latin typeface="Aptos" panose="020B0004020202020204" pitchFamily="34" charset="0"/>
            </a:rPr>
            <a:t>2</a:t>
          </a:r>
        </a:p>
      </dgm:t>
    </dgm:pt>
    <dgm:pt modelId="{C0575A07-05A1-4E0E-8414-C4E3CEF115EE}" type="parTrans" cxnId="{B643A406-BE81-4A3B-8BB1-31034E4F24CD}">
      <dgm:prSet/>
      <dgm:spPr/>
      <dgm:t>
        <a:bodyPr/>
        <a:lstStyle/>
        <a:p>
          <a:endParaRPr lang="en-US"/>
        </a:p>
      </dgm:t>
    </dgm:pt>
    <dgm:pt modelId="{887BEF9A-B2EB-4A7A-8998-19952F4B9A8A}" type="sibTrans" cxnId="{B643A406-BE81-4A3B-8BB1-31034E4F24CD}">
      <dgm:prSet/>
      <dgm:spPr/>
      <dgm:t>
        <a:bodyPr/>
        <a:lstStyle/>
        <a:p>
          <a:endParaRPr lang="en-US"/>
        </a:p>
      </dgm:t>
    </dgm:pt>
    <dgm:pt modelId="{5F9C66CA-D131-44E5-8FD4-DD66139D2D57}">
      <dgm:prSet phldrT="[Text]" custT="1"/>
      <dgm:spPr>
        <a:ln>
          <a:solidFill>
            <a:schemeClr val="bg2">
              <a:alpha val="70000"/>
            </a:schemeClr>
          </a:solidFill>
        </a:ln>
      </dgm:spPr>
      <dgm:t>
        <a:bodyPr/>
        <a:lstStyle/>
        <a:p>
          <a:r>
            <a:rPr lang="en-US" sz="2400" b="1" dirty="0">
              <a:solidFill>
                <a:schemeClr val="tx1"/>
              </a:solidFill>
              <a:latin typeface="Aptos" panose="020B0004020202020204" pitchFamily="34" charset="0"/>
            </a:rPr>
            <a:t>3</a:t>
          </a:r>
        </a:p>
      </dgm:t>
    </dgm:pt>
    <dgm:pt modelId="{504938C0-C2C1-4ADF-B0B5-687BD3B4C7C6}" type="parTrans" cxnId="{A19F21BF-289F-4131-9FD0-1B08CF17FB8A}">
      <dgm:prSet/>
      <dgm:spPr/>
      <dgm:t>
        <a:bodyPr/>
        <a:lstStyle/>
        <a:p>
          <a:endParaRPr lang="en-US"/>
        </a:p>
      </dgm:t>
    </dgm:pt>
    <dgm:pt modelId="{74E5F161-D590-4D58-9DD4-8471D940DC01}" type="sibTrans" cxnId="{A19F21BF-289F-4131-9FD0-1B08CF17FB8A}">
      <dgm:prSet/>
      <dgm:spPr/>
      <dgm:t>
        <a:bodyPr/>
        <a:lstStyle/>
        <a:p>
          <a:endParaRPr lang="en-US"/>
        </a:p>
      </dgm:t>
    </dgm:pt>
    <dgm:pt modelId="{1612C93B-94DF-4CD4-AE74-84BC364A8216}">
      <dgm:prSet custT="1"/>
      <dgm:spPr/>
      <dgm:t>
        <a:bodyPr/>
        <a:lstStyle/>
        <a:p>
          <a:r>
            <a:rPr lang="en-US" sz="1400" kern="1200" dirty="0">
              <a:solidFill>
                <a:srgbClr val="010101">
                  <a:hueOff val="0"/>
                  <a:satOff val="0"/>
                  <a:lumOff val="0"/>
                  <a:alphaOff val="0"/>
                </a:srgbClr>
              </a:solidFill>
              <a:latin typeface="Aptos" panose="020B0004020202020204" pitchFamily="34" charset="0"/>
              <a:ea typeface="+mn-ea"/>
              <a:cs typeface="+mn-cs"/>
            </a:rPr>
            <a:t>Model and Parameter optimization and advance techniques</a:t>
          </a:r>
          <a:endParaRPr lang="en-US" sz="2800" kern="1200" dirty="0"/>
        </a:p>
      </dgm:t>
    </dgm:pt>
    <dgm:pt modelId="{80CB5655-2CF6-4471-8828-7785774EEF4E}" type="parTrans" cxnId="{AE41BB0E-267E-4B83-92DF-DBD6EC8AADEC}">
      <dgm:prSet/>
      <dgm:spPr/>
      <dgm:t>
        <a:bodyPr/>
        <a:lstStyle/>
        <a:p>
          <a:endParaRPr lang="en-US"/>
        </a:p>
      </dgm:t>
    </dgm:pt>
    <dgm:pt modelId="{91A13DA3-09FA-42A5-8088-C3616221FA3F}" type="sibTrans" cxnId="{AE41BB0E-267E-4B83-92DF-DBD6EC8AADEC}">
      <dgm:prSet/>
      <dgm:spPr/>
      <dgm:t>
        <a:bodyPr/>
        <a:lstStyle/>
        <a:p>
          <a:endParaRPr lang="en-US"/>
        </a:p>
      </dgm:t>
    </dgm:pt>
    <dgm:pt modelId="{5FD84F04-8BCC-417D-9C2F-B194B010BFE1}">
      <dgm:prSet custT="1"/>
      <dgm:spPr/>
      <dgm:t>
        <a:bodyPr/>
        <a:lstStyle/>
        <a:p>
          <a:r>
            <a:rPr lang="en-US" sz="1400" kern="1200" dirty="0">
              <a:solidFill>
                <a:srgbClr val="010101">
                  <a:hueOff val="0"/>
                  <a:satOff val="0"/>
                  <a:lumOff val="0"/>
                  <a:alphaOff val="0"/>
                </a:srgbClr>
              </a:solidFill>
              <a:latin typeface="Aptos" panose="020B0004020202020204" pitchFamily="34" charset="0"/>
              <a:ea typeface="+mn-ea"/>
              <a:cs typeface="+mn-cs"/>
            </a:rPr>
            <a:t>Exploring Optimization techniques and exploring more local optimization </a:t>
          </a:r>
        </a:p>
      </dgm:t>
    </dgm:pt>
    <dgm:pt modelId="{C3C61C66-D799-43BD-B38C-AD72C24DA071}" type="parTrans" cxnId="{BFD47AFD-4D84-46B5-9A28-667B6774BF04}">
      <dgm:prSet/>
      <dgm:spPr/>
      <dgm:t>
        <a:bodyPr/>
        <a:lstStyle/>
        <a:p>
          <a:endParaRPr lang="en-US"/>
        </a:p>
      </dgm:t>
    </dgm:pt>
    <dgm:pt modelId="{540BC06C-ECAB-402A-ABAE-784EDE51660E}" type="sibTrans" cxnId="{BFD47AFD-4D84-46B5-9A28-667B6774BF04}">
      <dgm:prSet/>
      <dgm:spPr/>
      <dgm:t>
        <a:bodyPr/>
        <a:lstStyle/>
        <a:p>
          <a:endParaRPr lang="en-US"/>
        </a:p>
      </dgm:t>
    </dgm:pt>
    <dgm:pt modelId="{D6DAC6CB-2100-4FE8-BD93-DE2139325855}">
      <dgm:prSet custT="1"/>
      <dgm:spPr/>
      <dgm:t>
        <a:bodyPr/>
        <a:lstStyle/>
        <a:p>
          <a:r>
            <a:rPr lang="en-US" sz="1400" kern="1200" dirty="0"/>
            <a:t>incorporating stricter penalty functions to </a:t>
          </a:r>
          <a:r>
            <a:rPr lang="en-US" sz="1400" kern="1200" dirty="0" err="1"/>
            <a:t>maximise</a:t>
          </a:r>
          <a:r>
            <a:rPr lang="en-US" sz="1400" kern="1200" dirty="0"/>
            <a:t> efficiency with auction rules conformed</a:t>
          </a:r>
          <a:endParaRPr lang="en-US" sz="1400" kern="1200" dirty="0">
            <a:solidFill>
              <a:srgbClr val="010101">
                <a:hueOff val="0"/>
                <a:satOff val="0"/>
                <a:lumOff val="0"/>
                <a:alphaOff val="0"/>
              </a:srgbClr>
            </a:solidFill>
            <a:latin typeface="Aptos" panose="020B0004020202020204" pitchFamily="34" charset="0"/>
            <a:ea typeface="+mn-ea"/>
            <a:cs typeface="+mn-cs"/>
          </a:endParaRPr>
        </a:p>
      </dgm:t>
    </dgm:pt>
    <dgm:pt modelId="{AE2CC032-FA4F-4092-AAE2-DFEB5E1A086D}" type="parTrans" cxnId="{02D504BA-917B-44B6-8481-78850246448C}">
      <dgm:prSet/>
      <dgm:spPr/>
      <dgm:t>
        <a:bodyPr/>
        <a:lstStyle/>
        <a:p>
          <a:endParaRPr lang="en-US"/>
        </a:p>
      </dgm:t>
    </dgm:pt>
    <dgm:pt modelId="{0B26BA4D-9FA5-44AD-9054-E2CABA6B4A38}" type="sibTrans" cxnId="{02D504BA-917B-44B6-8481-78850246448C}">
      <dgm:prSet/>
      <dgm:spPr/>
      <dgm:t>
        <a:bodyPr/>
        <a:lstStyle/>
        <a:p>
          <a:endParaRPr lang="en-US"/>
        </a:p>
      </dgm:t>
    </dgm:pt>
    <dgm:pt modelId="{1CC4A076-8654-42B9-8DA6-30D27A209ADE}">
      <dgm:prSet custT="1"/>
      <dgm:spPr>
        <a:ln>
          <a:solidFill>
            <a:schemeClr val="bg2">
              <a:alpha val="60000"/>
            </a:schemeClr>
          </a:solidFill>
        </a:ln>
      </dgm:spPr>
      <dgm:t>
        <a:bodyPr/>
        <a:lstStyle/>
        <a:p>
          <a:r>
            <a:rPr lang="en-US" sz="2400" b="1" dirty="0">
              <a:solidFill>
                <a:schemeClr val="tx1"/>
              </a:solidFill>
              <a:latin typeface="Aptos" panose="020B0004020202020204" pitchFamily="34" charset="0"/>
            </a:rPr>
            <a:t>4 </a:t>
          </a:r>
        </a:p>
      </dgm:t>
    </dgm:pt>
    <dgm:pt modelId="{571C4E2E-7477-49B4-BD39-FAAB78EF14C6}" type="sibTrans" cxnId="{0FD63A14-29A7-491B-80C8-2A8077B82C76}">
      <dgm:prSet/>
      <dgm:spPr/>
      <dgm:t>
        <a:bodyPr/>
        <a:lstStyle/>
        <a:p>
          <a:endParaRPr lang="en-US"/>
        </a:p>
      </dgm:t>
    </dgm:pt>
    <dgm:pt modelId="{BF063336-6FF8-4BB4-82D4-5CF32FA9CE64}" type="parTrans" cxnId="{0FD63A14-29A7-491B-80C8-2A8077B82C76}">
      <dgm:prSet/>
      <dgm:spPr/>
      <dgm:t>
        <a:bodyPr/>
        <a:lstStyle/>
        <a:p>
          <a:endParaRPr lang="en-US"/>
        </a:p>
      </dgm:t>
    </dgm:pt>
    <dgm:pt modelId="{62FEFE4F-3415-4298-9F44-26BAFDB86094}">
      <dgm:prSet custT="1"/>
      <dgm:spPr>
        <a:ln>
          <a:solidFill>
            <a:schemeClr val="bg2">
              <a:alpha val="60000"/>
            </a:schemeClr>
          </a:solidFill>
        </a:ln>
      </dgm:spPr>
      <dgm:t>
        <a:bodyPr/>
        <a:lstStyle/>
        <a:p>
          <a:pPr marL="114300" lvl="1" indent="-114300" algn="l" defTabSz="622300">
            <a:lnSpc>
              <a:spcPct val="90000"/>
            </a:lnSpc>
            <a:spcBef>
              <a:spcPct val="0"/>
            </a:spcBef>
            <a:spcAft>
              <a:spcPct val="15000"/>
            </a:spcAft>
            <a:buChar char="•"/>
          </a:pPr>
          <a:r>
            <a:rPr lang="en-US" sz="1400" kern="1200" dirty="0">
              <a:solidFill>
                <a:srgbClr val="010101">
                  <a:hueOff val="0"/>
                  <a:satOff val="0"/>
                  <a:lumOff val="0"/>
                  <a:alphaOff val="0"/>
                </a:srgbClr>
              </a:solidFill>
              <a:latin typeface="Aptos" panose="020B0004020202020204" pitchFamily="34" charset="0"/>
              <a:ea typeface="+mn-ea"/>
              <a:cs typeface="+mn-cs"/>
            </a:rPr>
            <a:t>Ariba rules review and efficiency mapping</a:t>
          </a:r>
        </a:p>
      </dgm:t>
    </dgm:pt>
    <dgm:pt modelId="{7B1BDA41-EC62-4AA9-8F2A-781491742EA4}" type="sibTrans" cxnId="{ECCF576E-9C2D-4F0F-A2BB-E5B8D2C35143}">
      <dgm:prSet/>
      <dgm:spPr/>
      <dgm:t>
        <a:bodyPr/>
        <a:lstStyle/>
        <a:p>
          <a:endParaRPr lang="en-US"/>
        </a:p>
      </dgm:t>
    </dgm:pt>
    <dgm:pt modelId="{10D45B93-5070-4492-B25D-81DDE707E2DA}" type="parTrans" cxnId="{ECCF576E-9C2D-4F0F-A2BB-E5B8D2C35143}">
      <dgm:prSet/>
      <dgm:spPr/>
      <dgm:t>
        <a:bodyPr/>
        <a:lstStyle/>
        <a:p>
          <a:endParaRPr lang="en-US"/>
        </a:p>
      </dgm:t>
    </dgm:pt>
    <dgm:pt modelId="{4069D8D2-5E15-40AB-A5B2-0950E0CA46E5}">
      <dgm:prSet phldrT="[Text]" custT="1"/>
      <dgm:spPr/>
      <dgm:t>
        <a:bodyPr/>
        <a:lstStyle/>
        <a:p>
          <a:r>
            <a:rPr lang="en-US" sz="1400" dirty="0">
              <a:latin typeface="Aptos" panose="020B0004020202020204" pitchFamily="34" charset="0"/>
            </a:rPr>
            <a:t>Introduce prescriptive analysis enablement</a:t>
          </a:r>
        </a:p>
      </dgm:t>
    </dgm:pt>
    <dgm:pt modelId="{AC3C8453-9F7F-4B7F-BD41-7B24AC717E59}" type="parTrans" cxnId="{8445B8A6-A5F8-4059-AAF5-19D7A3E4F5A3}">
      <dgm:prSet/>
      <dgm:spPr/>
      <dgm:t>
        <a:bodyPr/>
        <a:lstStyle/>
        <a:p>
          <a:endParaRPr lang="en-US"/>
        </a:p>
      </dgm:t>
    </dgm:pt>
    <dgm:pt modelId="{98182E19-B2BE-4078-8C95-1A70386C4172}" type="sibTrans" cxnId="{8445B8A6-A5F8-4059-AAF5-19D7A3E4F5A3}">
      <dgm:prSet/>
      <dgm:spPr/>
      <dgm:t>
        <a:bodyPr/>
        <a:lstStyle/>
        <a:p>
          <a:endParaRPr lang="en-US"/>
        </a:p>
      </dgm:t>
    </dgm:pt>
    <dgm:pt modelId="{CEC9B42F-06F1-4B20-AC35-FEDD59A93B25}" type="pres">
      <dgm:prSet presAssocID="{675673D4-9D23-4FA2-AEF5-140D11B6DDB1}" presName="linearFlow" presStyleCnt="0">
        <dgm:presLayoutVars>
          <dgm:dir/>
          <dgm:animLvl val="lvl"/>
          <dgm:resizeHandles val="exact"/>
        </dgm:presLayoutVars>
      </dgm:prSet>
      <dgm:spPr/>
    </dgm:pt>
    <dgm:pt modelId="{22D14268-6B99-4DA9-AE9C-EF1E20321201}" type="pres">
      <dgm:prSet presAssocID="{386C35E0-D4B1-40F4-9F87-782B161A6ADA}" presName="composite" presStyleCnt="0"/>
      <dgm:spPr/>
    </dgm:pt>
    <dgm:pt modelId="{9968305A-2370-4FF3-ABE1-363A5AF59705}" type="pres">
      <dgm:prSet presAssocID="{386C35E0-D4B1-40F4-9F87-782B161A6ADA}" presName="parentText" presStyleLbl="alignNode1" presStyleIdx="0" presStyleCnt="4">
        <dgm:presLayoutVars>
          <dgm:chMax val="1"/>
          <dgm:bulletEnabled val="1"/>
        </dgm:presLayoutVars>
      </dgm:prSet>
      <dgm:spPr/>
    </dgm:pt>
    <dgm:pt modelId="{8CC04875-DF3E-46E5-AB2A-89360A3E5282}" type="pres">
      <dgm:prSet presAssocID="{386C35E0-D4B1-40F4-9F87-782B161A6ADA}" presName="descendantText" presStyleLbl="alignAcc1" presStyleIdx="0" presStyleCnt="4">
        <dgm:presLayoutVars>
          <dgm:bulletEnabled val="1"/>
        </dgm:presLayoutVars>
      </dgm:prSet>
      <dgm:spPr/>
    </dgm:pt>
    <dgm:pt modelId="{0A0B1C4E-B33B-43B3-B883-9EF1CD5C0449}" type="pres">
      <dgm:prSet presAssocID="{12F86109-054D-4BA7-9A56-153E080172EE}" presName="sp" presStyleCnt="0"/>
      <dgm:spPr/>
    </dgm:pt>
    <dgm:pt modelId="{9A34B57B-8D58-4E62-BC8E-4F5BBD1231B5}" type="pres">
      <dgm:prSet presAssocID="{864EEF5A-8FDA-41A8-BF56-D1D0CD36D66B}" presName="composite" presStyleCnt="0"/>
      <dgm:spPr/>
    </dgm:pt>
    <dgm:pt modelId="{2AB63A49-D284-4499-9930-A0BA9235A037}" type="pres">
      <dgm:prSet presAssocID="{864EEF5A-8FDA-41A8-BF56-D1D0CD36D66B}" presName="parentText" presStyleLbl="alignNode1" presStyleIdx="1" presStyleCnt="4">
        <dgm:presLayoutVars>
          <dgm:chMax val="1"/>
          <dgm:bulletEnabled val="1"/>
        </dgm:presLayoutVars>
      </dgm:prSet>
      <dgm:spPr/>
    </dgm:pt>
    <dgm:pt modelId="{4937C96F-6DC7-4FE8-B9E9-204DF1DD4BC6}" type="pres">
      <dgm:prSet presAssocID="{864EEF5A-8FDA-41A8-BF56-D1D0CD36D66B}" presName="descendantText" presStyleLbl="alignAcc1" presStyleIdx="1" presStyleCnt="4" custLinFactNeighborY="5409">
        <dgm:presLayoutVars>
          <dgm:bulletEnabled val="1"/>
        </dgm:presLayoutVars>
      </dgm:prSet>
      <dgm:spPr/>
    </dgm:pt>
    <dgm:pt modelId="{F41F2A8C-37BC-42D0-AF77-698AEFC52BFC}" type="pres">
      <dgm:prSet presAssocID="{887BEF9A-B2EB-4A7A-8998-19952F4B9A8A}" presName="sp" presStyleCnt="0"/>
      <dgm:spPr/>
    </dgm:pt>
    <dgm:pt modelId="{851B8B0E-1AB4-4708-BA89-27C68A6D8827}" type="pres">
      <dgm:prSet presAssocID="{5F9C66CA-D131-44E5-8FD4-DD66139D2D57}" presName="composite" presStyleCnt="0"/>
      <dgm:spPr/>
    </dgm:pt>
    <dgm:pt modelId="{64841451-5261-49AD-9917-C0844276A421}" type="pres">
      <dgm:prSet presAssocID="{5F9C66CA-D131-44E5-8FD4-DD66139D2D57}" presName="parentText" presStyleLbl="alignNode1" presStyleIdx="2" presStyleCnt="4">
        <dgm:presLayoutVars>
          <dgm:chMax val="1"/>
          <dgm:bulletEnabled val="1"/>
        </dgm:presLayoutVars>
      </dgm:prSet>
      <dgm:spPr/>
    </dgm:pt>
    <dgm:pt modelId="{BF4C8BAA-9E30-45CC-A0F6-EC143EA1DD88}" type="pres">
      <dgm:prSet presAssocID="{5F9C66CA-D131-44E5-8FD4-DD66139D2D57}" presName="descendantText" presStyleLbl="alignAcc1" presStyleIdx="2" presStyleCnt="4">
        <dgm:presLayoutVars>
          <dgm:bulletEnabled val="1"/>
        </dgm:presLayoutVars>
      </dgm:prSet>
      <dgm:spPr/>
    </dgm:pt>
    <dgm:pt modelId="{83C84210-FE11-4C81-A053-A7C52255388D}" type="pres">
      <dgm:prSet presAssocID="{74E5F161-D590-4D58-9DD4-8471D940DC01}" presName="sp" presStyleCnt="0"/>
      <dgm:spPr/>
    </dgm:pt>
    <dgm:pt modelId="{4480B88D-5FF7-4B13-861D-6E178BC192D0}" type="pres">
      <dgm:prSet presAssocID="{1CC4A076-8654-42B9-8DA6-30D27A209ADE}" presName="composite" presStyleCnt="0"/>
      <dgm:spPr/>
    </dgm:pt>
    <dgm:pt modelId="{225FF700-E011-40A5-AEFF-B212ED6B528A}" type="pres">
      <dgm:prSet presAssocID="{1CC4A076-8654-42B9-8DA6-30D27A209ADE}" presName="parentText" presStyleLbl="alignNode1" presStyleIdx="3" presStyleCnt="4">
        <dgm:presLayoutVars>
          <dgm:chMax val="1"/>
          <dgm:bulletEnabled val="1"/>
        </dgm:presLayoutVars>
      </dgm:prSet>
      <dgm:spPr/>
    </dgm:pt>
    <dgm:pt modelId="{77F005C7-3B84-4329-84D7-F21CFFE8767D}" type="pres">
      <dgm:prSet presAssocID="{1CC4A076-8654-42B9-8DA6-30D27A209ADE}" presName="descendantText" presStyleLbl="alignAcc1" presStyleIdx="3" presStyleCnt="4">
        <dgm:presLayoutVars>
          <dgm:bulletEnabled val="1"/>
        </dgm:presLayoutVars>
      </dgm:prSet>
      <dgm:spPr/>
    </dgm:pt>
  </dgm:ptLst>
  <dgm:cxnLst>
    <dgm:cxn modelId="{081F9303-1E20-4AB2-8399-ED79722F9F5C}" type="presOf" srcId="{0501AAB0-2D41-44FD-A39D-D234B3CE531E}" destId="{8CC04875-DF3E-46E5-AB2A-89360A3E5282}" srcOrd="0" destOrd="0" presId="urn:microsoft.com/office/officeart/2005/8/layout/chevron2"/>
    <dgm:cxn modelId="{B643A406-BE81-4A3B-8BB1-31034E4F24CD}" srcId="{675673D4-9D23-4FA2-AEF5-140D11B6DDB1}" destId="{864EEF5A-8FDA-41A8-BF56-D1D0CD36D66B}" srcOrd="1" destOrd="0" parTransId="{C0575A07-05A1-4E0E-8414-C4E3CEF115EE}" sibTransId="{887BEF9A-B2EB-4A7A-8998-19952F4B9A8A}"/>
    <dgm:cxn modelId="{AE41BB0E-267E-4B83-92DF-DBD6EC8AADEC}" srcId="{864EEF5A-8FDA-41A8-BF56-D1D0CD36D66B}" destId="{1612C93B-94DF-4CD4-AE74-84BC364A8216}" srcOrd="0" destOrd="0" parTransId="{80CB5655-2CF6-4471-8828-7785774EEF4E}" sibTransId="{91A13DA3-09FA-42A5-8088-C3616221FA3F}"/>
    <dgm:cxn modelId="{0FD63A14-29A7-491B-80C8-2A8077B82C76}" srcId="{675673D4-9D23-4FA2-AEF5-140D11B6DDB1}" destId="{1CC4A076-8654-42B9-8DA6-30D27A209ADE}" srcOrd="3" destOrd="0" parTransId="{BF063336-6FF8-4BB4-82D4-5CF32FA9CE64}" sibTransId="{571C4E2E-7477-49B4-BD39-FAAB78EF14C6}"/>
    <dgm:cxn modelId="{65B05B26-58F3-4CFE-8269-81C7F742360F}" type="presOf" srcId="{62FEFE4F-3415-4298-9F44-26BAFDB86094}" destId="{77F005C7-3B84-4329-84D7-F21CFFE8767D}" srcOrd="0" destOrd="0" presId="urn:microsoft.com/office/officeart/2005/8/layout/chevron2"/>
    <dgm:cxn modelId="{A7E9AA29-3382-4D1B-8C19-BC7138D8C17E}" type="presOf" srcId="{1CC4A076-8654-42B9-8DA6-30D27A209ADE}" destId="{225FF700-E011-40A5-AEFF-B212ED6B528A}" srcOrd="0" destOrd="0" presId="urn:microsoft.com/office/officeart/2005/8/layout/chevron2"/>
    <dgm:cxn modelId="{EE6C5F34-7F13-4F3C-8CEB-AE17C77B61DB}" type="presOf" srcId="{675673D4-9D23-4FA2-AEF5-140D11B6DDB1}" destId="{CEC9B42F-06F1-4B20-AC35-FEDD59A93B25}" srcOrd="0" destOrd="0" presId="urn:microsoft.com/office/officeart/2005/8/layout/chevron2"/>
    <dgm:cxn modelId="{BE5B0235-7C1B-47A8-93C2-09D09BF2F078}" type="presOf" srcId="{864EEF5A-8FDA-41A8-BF56-D1D0CD36D66B}" destId="{2AB63A49-D284-4499-9930-A0BA9235A037}" srcOrd="0" destOrd="0" presId="urn:microsoft.com/office/officeart/2005/8/layout/chevron2"/>
    <dgm:cxn modelId="{51EAF761-FA5E-42D9-A419-62F39FD4F7B3}" type="presOf" srcId="{1612C93B-94DF-4CD4-AE74-84BC364A8216}" destId="{4937C96F-6DC7-4FE8-B9E9-204DF1DD4BC6}" srcOrd="0" destOrd="0" presId="urn:microsoft.com/office/officeart/2005/8/layout/chevron2"/>
    <dgm:cxn modelId="{ECCF576E-9C2D-4F0F-A2BB-E5B8D2C35143}" srcId="{1CC4A076-8654-42B9-8DA6-30D27A209ADE}" destId="{62FEFE4F-3415-4298-9F44-26BAFDB86094}" srcOrd="0" destOrd="0" parTransId="{10D45B93-5070-4492-B25D-81DDE707E2DA}" sibTransId="{7B1BDA41-EC62-4AA9-8F2A-781491742EA4}"/>
    <dgm:cxn modelId="{DDC68556-3EEA-4855-BDC3-63AD5E213784}" type="presOf" srcId="{D6DAC6CB-2100-4FE8-BD93-DE2139325855}" destId="{BF4C8BAA-9E30-45CC-A0F6-EC143EA1DD88}" srcOrd="0" destOrd="1" presId="urn:microsoft.com/office/officeart/2005/8/layout/chevron2"/>
    <dgm:cxn modelId="{30558481-5EAC-47B7-BAA6-1BBCC5EBE271}" type="presOf" srcId="{4069D8D2-5E15-40AB-A5B2-0950E0CA46E5}" destId="{8CC04875-DF3E-46E5-AB2A-89360A3E5282}" srcOrd="0" destOrd="1" presId="urn:microsoft.com/office/officeart/2005/8/layout/chevron2"/>
    <dgm:cxn modelId="{0F9FE98E-DC30-4571-97FD-14705717F548}" srcId="{675673D4-9D23-4FA2-AEF5-140D11B6DDB1}" destId="{386C35E0-D4B1-40F4-9F87-782B161A6ADA}" srcOrd="0" destOrd="0" parTransId="{842883AC-8BDB-4C78-92DE-740695809C29}" sibTransId="{12F86109-054D-4BA7-9A56-153E080172EE}"/>
    <dgm:cxn modelId="{8445B8A6-A5F8-4059-AAF5-19D7A3E4F5A3}" srcId="{386C35E0-D4B1-40F4-9F87-782B161A6ADA}" destId="{4069D8D2-5E15-40AB-A5B2-0950E0CA46E5}" srcOrd="1" destOrd="0" parTransId="{AC3C8453-9F7F-4B7F-BD41-7B24AC717E59}" sibTransId="{98182E19-B2BE-4078-8C95-1A70386C4172}"/>
    <dgm:cxn modelId="{D2A3BAB8-88D4-454E-BB2F-CB904CB75D8C}" type="presOf" srcId="{5F9C66CA-D131-44E5-8FD4-DD66139D2D57}" destId="{64841451-5261-49AD-9917-C0844276A421}" srcOrd="0" destOrd="0" presId="urn:microsoft.com/office/officeart/2005/8/layout/chevron2"/>
    <dgm:cxn modelId="{02D504BA-917B-44B6-8481-78850246448C}" srcId="{5F9C66CA-D131-44E5-8FD4-DD66139D2D57}" destId="{D6DAC6CB-2100-4FE8-BD93-DE2139325855}" srcOrd="1" destOrd="0" parTransId="{AE2CC032-FA4F-4092-AAE2-DFEB5E1A086D}" sibTransId="{0B26BA4D-9FA5-44AD-9054-E2CABA6B4A38}"/>
    <dgm:cxn modelId="{A19F21BF-289F-4131-9FD0-1B08CF17FB8A}" srcId="{675673D4-9D23-4FA2-AEF5-140D11B6DDB1}" destId="{5F9C66CA-D131-44E5-8FD4-DD66139D2D57}" srcOrd="2" destOrd="0" parTransId="{504938C0-C2C1-4ADF-B0B5-687BD3B4C7C6}" sibTransId="{74E5F161-D590-4D58-9DD4-8471D940DC01}"/>
    <dgm:cxn modelId="{D88AB7EB-6E40-475B-BE25-8CE85B3418E4}" type="presOf" srcId="{5FD84F04-8BCC-417D-9C2F-B194B010BFE1}" destId="{BF4C8BAA-9E30-45CC-A0F6-EC143EA1DD88}" srcOrd="0" destOrd="0" presId="urn:microsoft.com/office/officeart/2005/8/layout/chevron2"/>
    <dgm:cxn modelId="{AE1325F8-520F-42DF-9B7C-13126267E6B3}" srcId="{386C35E0-D4B1-40F4-9F87-782B161A6ADA}" destId="{0501AAB0-2D41-44FD-A39D-D234B3CE531E}" srcOrd="0" destOrd="0" parTransId="{3795D5C3-3893-4DCD-975B-81E2993AF4C9}" sibTransId="{E700D9E2-D4CE-446D-9E22-A31564169E0C}"/>
    <dgm:cxn modelId="{AA9F34F8-B7DA-4639-8A71-5D3BA2AABFE7}" type="presOf" srcId="{386C35E0-D4B1-40F4-9F87-782B161A6ADA}" destId="{9968305A-2370-4FF3-ABE1-363A5AF59705}" srcOrd="0" destOrd="0" presId="urn:microsoft.com/office/officeart/2005/8/layout/chevron2"/>
    <dgm:cxn modelId="{BFD47AFD-4D84-46B5-9A28-667B6774BF04}" srcId="{5F9C66CA-D131-44E5-8FD4-DD66139D2D57}" destId="{5FD84F04-8BCC-417D-9C2F-B194B010BFE1}" srcOrd="0" destOrd="0" parTransId="{C3C61C66-D799-43BD-B38C-AD72C24DA071}" sibTransId="{540BC06C-ECAB-402A-ABAE-784EDE51660E}"/>
    <dgm:cxn modelId="{26FD431A-55CA-4C60-9C7E-63345382F028}" type="presParOf" srcId="{CEC9B42F-06F1-4B20-AC35-FEDD59A93B25}" destId="{22D14268-6B99-4DA9-AE9C-EF1E20321201}" srcOrd="0" destOrd="0" presId="urn:microsoft.com/office/officeart/2005/8/layout/chevron2"/>
    <dgm:cxn modelId="{AB910373-0A0D-4434-A9A4-14D5242F9933}" type="presParOf" srcId="{22D14268-6B99-4DA9-AE9C-EF1E20321201}" destId="{9968305A-2370-4FF3-ABE1-363A5AF59705}" srcOrd="0" destOrd="0" presId="urn:microsoft.com/office/officeart/2005/8/layout/chevron2"/>
    <dgm:cxn modelId="{7333D416-BFF8-4FBB-A6B2-F8193115AECB}" type="presParOf" srcId="{22D14268-6B99-4DA9-AE9C-EF1E20321201}" destId="{8CC04875-DF3E-46E5-AB2A-89360A3E5282}" srcOrd="1" destOrd="0" presId="urn:microsoft.com/office/officeart/2005/8/layout/chevron2"/>
    <dgm:cxn modelId="{78619F7C-6AE0-476A-82FE-618F027BB6BE}" type="presParOf" srcId="{CEC9B42F-06F1-4B20-AC35-FEDD59A93B25}" destId="{0A0B1C4E-B33B-43B3-B883-9EF1CD5C0449}" srcOrd="1" destOrd="0" presId="urn:microsoft.com/office/officeart/2005/8/layout/chevron2"/>
    <dgm:cxn modelId="{8E071BF7-7BF7-4AE5-BE80-2BEB5610CC64}" type="presParOf" srcId="{CEC9B42F-06F1-4B20-AC35-FEDD59A93B25}" destId="{9A34B57B-8D58-4E62-BC8E-4F5BBD1231B5}" srcOrd="2" destOrd="0" presId="urn:microsoft.com/office/officeart/2005/8/layout/chevron2"/>
    <dgm:cxn modelId="{5000CD54-63CF-429C-9CF0-91280EADE3B2}" type="presParOf" srcId="{9A34B57B-8D58-4E62-BC8E-4F5BBD1231B5}" destId="{2AB63A49-D284-4499-9930-A0BA9235A037}" srcOrd="0" destOrd="0" presId="urn:microsoft.com/office/officeart/2005/8/layout/chevron2"/>
    <dgm:cxn modelId="{C65848CB-7477-47BB-BE24-EBDC9E785808}" type="presParOf" srcId="{9A34B57B-8D58-4E62-BC8E-4F5BBD1231B5}" destId="{4937C96F-6DC7-4FE8-B9E9-204DF1DD4BC6}" srcOrd="1" destOrd="0" presId="urn:microsoft.com/office/officeart/2005/8/layout/chevron2"/>
    <dgm:cxn modelId="{8BBC7D90-2021-4EB2-93AA-B481080C2385}" type="presParOf" srcId="{CEC9B42F-06F1-4B20-AC35-FEDD59A93B25}" destId="{F41F2A8C-37BC-42D0-AF77-698AEFC52BFC}" srcOrd="3" destOrd="0" presId="urn:microsoft.com/office/officeart/2005/8/layout/chevron2"/>
    <dgm:cxn modelId="{B432BB7D-0119-4F92-8328-3EB7E68A89B6}" type="presParOf" srcId="{CEC9B42F-06F1-4B20-AC35-FEDD59A93B25}" destId="{851B8B0E-1AB4-4708-BA89-27C68A6D8827}" srcOrd="4" destOrd="0" presId="urn:microsoft.com/office/officeart/2005/8/layout/chevron2"/>
    <dgm:cxn modelId="{956340D0-27C9-4EFC-96F9-AB1EBEDC2A06}" type="presParOf" srcId="{851B8B0E-1AB4-4708-BA89-27C68A6D8827}" destId="{64841451-5261-49AD-9917-C0844276A421}" srcOrd="0" destOrd="0" presId="urn:microsoft.com/office/officeart/2005/8/layout/chevron2"/>
    <dgm:cxn modelId="{71F263CE-5851-4702-99F0-74C589896F6E}" type="presParOf" srcId="{851B8B0E-1AB4-4708-BA89-27C68A6D8827}" destId="{BF4C8BAA-9E30-45CC-A0F6-EC143EA1DD88}" srcOrd="1" destOrd="0" presId="urn:microsoft.com/office/officeart/2005/8/layout/chevron2"/>
    <dgm:cxn modelId="{D6E7F293-31F3-41FE-85D8-54AA636CE100}" type="presParOf" srcId="{CEC9B42F-06F1-4B20-AC35-FEDD59A93B25}" destId="{83C84210-FE11-4C81-A053-A7C52255388D}" srcOrd="5" destOrd="0" presId="urn:microsoft.com/office/officeart/2005/8/layout/chevron2"/>
    <dgm:cxn modelId="{A32C2F0F-33EF-41F9-8852-CFEE53A03EA1}" type="presParOf" srcId="{CEC9B42F-06F1-4B20-AC35-FEDD59A93B25}" destId="{4480B88D-5FF7-4B13-861D-6E178BC192D0}" srcOrd="6" destOrd="0" presId="urn:microsoft.com/office/officeart/2005/8/layout/chevron2"/>
    <dgm:cxn modelId="{E6D0C4E4-871F-4C9F-A30D-2494CE3A87A2}" type="presParOf" srcId="{4480B88D-5FF7-4B13-861D-6E178BC192D0}" destId="{225FF700-E011-40A5-AEFF-B212ED6B528A}" srcOrd="0" destOrd="0" presId="urn:microsoft.com/office/officeart/2005/8/layout/chevron2"/>
    <dgm:cxn modelId="{B9A871B4-D303-4535-AF4E-BAAF022862C3}" type="presParOf" srcId="{4480B88D-5FF7-4B13-861D-6E178BC192D0}" destId="{77F005C7-3B84-4329-84D7-F21CFFE8767D}"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68305A-2370-4FF3-ABE1-363A5AF59705}">
      <dsp:nvSpPr>
        <dsp:cNvPr id="0" name=""/>
        <dsp:cNvSpPr/>
      </dsp:nvSpPr>
      <dsp:spPr>
        <a:xfrm rot="5400000">
          <a:off x="-220294" y="224023"/>
          <a:ext cx="1468630" cy="1028041"/>
        </a:xfrm>
        <a:prstGeom prst="chevron">
          <a:avLst/>
        </a:prstGeom>
        <a:solidFill>
          <a:schemeClr val="accent2">
            <a:alpha val="90000"/>
            <a:hueOff val="0"/>
            <a:satOff val="0"/>
            <a:lumOff val="0"/>
            <a:alphaOff val="0"/>
          </a:schemeClr>
        </a:solidFill>
        <a:ln w="12700" cap="flat" cmpd="sng" algn="ctr">
          <a:solidFill>
            <a:schemeClr val="bg2">
              <a:alpha val="9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a:solidFill>
                <a:schemeClr val="tx1"/>
              </a:solidFill>
              <a:latin typeface="Aptos" panose="020B0004020202020204" pitchFamily="34" charset="0"/>
            </a:rPr>
            <a:t>1</a:t>
          </a:r>
        </a:p>
      </dsp:txBody>
      <dsp:txXfrm rot="-5400000">
        <a:off x="1" y="517750"/>
        <a:ext cx="1028041" cy="440589"/>
      </dsp:txXfrm>
    </dsp:sp>
    <dsp:sp modelId="{8CC04875-DF3E-46E5-AB2A-89360A3E5282}">
      <dsp:nvSpPr>
        <dsp:cNvPr id="0" name=""/>
        <dsp:cNvSpPr/>
      </dsp:nvSpPr>
      <dsp:spPr>
        <a:xfrm rot="5400000">
          <a:off x="5370034" y="-4338264"/>
          <a:ext cx="954609" cy="9638595"/>
        </a:xfrm>
        <a:prstGeom prst="round2SameRect">
          <a:avLst/>
        </a:prstGeom>
        <a:solidFill>
          <a:schemeClr val="lt1">
            <a:alpha val="90000"/>
            <a:hueOff val="0"/>
            <a:satOff val="0"/>
            <a:lumOff val="0"/>
            <a:alphaOff val="0"/>
          </a:schemeClr>
        </a:solidFill>
        <a:ln w="12700" cap="flat" cmpd="sng" algn="ctr">
          <a:solidFill>
            <a:schemeClr val="accent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latin typeface="Aptos" panose="020B0004020202020204" pitchFamily="34" charset="0"/>
            </a:rPr>
            <a:t>Spend ample amount of time to understand other data sources affecting effectiveness. Consider looking into macro economic factors.</a:t>
          </a:r>
        </a:p>
        <a:p>
          <a:pPr marL="114300" lvl="1" indent="-114300" algn="l" defTabSz="622300">
            <a:lnSpc>
              <a:spcPct val="90000"/>
            </a:lnSpc>
            <a:spcBef>
              <a:spcPct val="0"/>
            </a:spcBef>
            <a:spcAft>
              <a:spcPct val="15000"/>
            </a:spcAft>
            <a:buChar char="•"/>
          </a:pPr>
          <a:r>
            <a:rPr lang="en-US" sz="1400" kern="1200" dirty="0">
              <a:latin typeface="Aptos" panose="020B0004020202020204" pitchFamily="34" charset="0"/>
            </a:rPr>
            <a:t>Introduce prescriptive analysis enablement</a:t>
          </a:r>
        </a:p>
      </dsp:txBody>
      <dsp:txXfrm rot="-5400000">
        <a:off x="1028041" y="50329"/>
        <a:ext cx="9591995" cy="861409"/>
      </dsp:txXfrm>
    </dsp:sp>
    <dsp:sp modelId="{2AB63A49-D284-4499-9930-A0BA9235A037}">
      <dsp:nvSpPr>
        <dsp:cNvPr id="0" name=""/>
        <dsp:cNvSpPr/>
      </dsp:nvSpPr>
      <dsp:spPr>
        <a:xfrm rot="5400000">
          <a:off x="-220294" y="1548271"/>
          <a:ext cx="1468630" cy="1028041"/>
        </a:xfrm>
        <a:prstGeom prst="chevron">
          <a:avLst/>
        </a:prstGeom>
        <a:solidFill>
          <a:schemeClr val="accent2">
            <a:alpha val="90000"/>
            <a:hueOff val="0"/>
            <a:satOff val="0"/>
            <a:lumOff val="0"/>
            <a:alphaOff val="-13333"/>
          </a:schemeClr>
        </a:solidFill>
        <a:ln w="12700" cap="flat" cmpd="sng" algn="ctr">
          <a:solidFill>
            <a:schemeClr val="bg2">
              <a:alpha val="8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a:solidFill>
                <a:schemeClr val="tx1"/>
              </a:solidFill>
              <a:latin typeface="Aptos" panose="020B0004020202020204" pitchFamily="34" charset="0"/>
            </a:rPr>
            <a:t>2</a:t>
          </a:r>
        </a:p>
      </dsp:txBody>
      <dsp:txXfrm rot="-5400000">
        <a:off x="1" y="1841998"/>
        <a:ext cx="1028041" cy="440589"/>
      </dsp:txXfrm>
    </dsp:sp>
    <dsp:sp modelId="{4937C96F-6DC7-4FE8-B9E9-204DF1DD4BC6}">
      <dsp:nvSpPr>
        <dsp:cNvPr id="0" name=""/>
        <dsp:cNvSpPr/>
      </dsp:nvSpPr>
      <dsp:spPr>
        <a:xfrm rot="5400000">
          <a:off x="5370034" y="-2962381"/>
          <a:ext cx="954609" cy="9638595"/>
        </a:xfrm>
        <a:prstGeom prst="round2SameRect">
          <a:avLst/>
        </a:prstGeom>
        <a:solidFill>
          <a:schemeClr val="lt1">
            <a:alpha val="90000"/>
            <a:hueOff val="0"/>
            <a:satOff val="0"/>
            <a:lumOff val="0"/>
            <a:alphaOff val="0"/>
          </a:schemeClr>
        </a:solidFill>
        <a:ln w="12700" cap="flat" cmpd="sng" algn="ctr">
          <a:solidFill>
            <a:schemeClr val="accent2">
              <a:alpha val="90000"/>
              <a:hueOff val="0"/>
              <a:satOff val="0"/>
              <a:lumOff val="0"/>
              <a:alphaOff val="-13333"/>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rgbClr val="010101">
                  <a:hueOff val="0"/>
                  <a:satOff val="0"/>
                  <a:lumOff val="0"/>
                  <a:alphaOff val="0"/>
                </a:srgbClr>
              </a:solidFill>
              <a:latin typeface="Aptos" panose="020B0004020202020204" pitchFamily="34" charset="0"/>
              <a:ea typeface="+mn-ea"/>
              <a:cs typeface="+mn-cs"/>
            </a:rPr>
            <a:t>Model and Parameter optimization and advance techniques</a:t>
          </a:r>
          <a:endParaRPr lang="en-US" sz="2800" kern="1200" dirty="0"/>
        </a:p>
      </dsp:txBody>
      <dsp:txXfrm rot="-5400000">
        <a:off x="1028041" y="1426212"/>
        <a:ext cx="9591995" cy="861409"/>
      </dsp:txXfrm>
    </dsp:sp>
    <dsp:sp modelId="{64841451-5261-49AD-9917-C0844276A421}">
      <dsp:nvSpPr>
        <dsp:cNvPr id="0" name=""/>
        <dsp:cNvSpPr/>
      </dsp:nvSpPr>
      <dsp:spPr>
        <a:xfrm rot="5400000">
          <a:off x="-220294" y="2872519"/>
          <a:ext cx="1468630" cy="1028041"/>
        </a:xfrm>
        <a:prstGeom prst="chevron">
          <a:avLst/>
        </a:prstGeom>
        <a:solidFill>
          <a:schemeClr val="accent2">
            <a:alpha val="90000"/>
            <a:hueOff val="0"/>
            <a:satOff val="0"/>
            <a:lumOff val="0"/>
            <a:alphaOff val="-26667"/>
          </a:schemeClr>
        </a:solidFill>
        <a:ln w="12700" cap="flat" cmpd="sng" algn="ctr">
          <a:solidFill>
            <a:schemeClr val="bg2">
              <a:alpha val="7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tx1"/>
              </a:solidFill>
              <a:latin typeface="Aptos" panose="020B0004020202020204" pitchFamily="34" charset="0"/>
            </a:rPr>
            <a:t>3</a:t>
          </a:r>
        </a:p>
      </dsp:txBody>
      <dsp:txXfrm rot="-5400000">
        <a:off x="1" y="3166246"/>
        <a:ext cx="1028041" cy="440589"/>
      </dsp:txXfrm>
    </dsp:sp>
    <dsp:sp modelId="{BF4C8BAA-9E30-45CC-A0F6-EC143EA1DD88}">
      <dsp:nvSpPr>
        <dsp:cNvPr id="0" name=""/>
        <dsp:cNvSpPr/>
      </dsp:nvSpPr>
      <dsp:spPr>
        <a:xfrm rot="5400000">
          <a:off x="5370034" y="-1689768"/>
          <a:ext cx="954609" cy="9638595"/>
        </a:xfrm>
        <a:prstGeom prst="round2SameRect">
          <a:avLst/>
        </a:prstGeom>
        <a:solidFill>
          <a:schemeClr val="lt1">
            <a:alpha val="90000"/>
            <a:hueOff val="0"/>
            <a:satOff val="0"/>
            <a:lumOff val="0"/>
            <a:alphaOff val="0"/>
          </a:schemeClr>
        </a:solidFill>
        <a:ln w="12700" cap="flat" cmpd="sng" algn="ctr">
          <a:solidFill>
            <a:schemeClr val="accent2">
              <a:alpha val="90000"/>
              <a:hueOff val="0"/>
              <a:satOff val="0"/>
              <a:lumOff val="0"/>
              <a:alphaOff val="-26667"/>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rgbClr val="010101">
                  <a:hueOff val="0"/>
                  <a:satOff val="0"/>
                  <a:lumOff val="0"/>
                  <a:alphaOff val="0"/>
                </a:srgbClr>
              </a:solidFill>
              <a:latin typeface="Aptos" panose="020B0004020202020204" pitchFamily="34" charset="0"/>
              <a:ea typeface="+mn-ea"/>
              <a:cs typeface="+mn-cs"/>
            </a:rPr>
            <a:t>Exploring Optimization techniques and exploring more local optimization </a:t>
          </a:r>
        </a:p>
        <a:p>
          <a:pPr marL="114300" lvl="1" indent="-114300" algn="l" defTabSz="622300">
            <a:lnSpc>
              <a:spcPct val="90000"/>
            </a:lnSpc>
            <a:spcBef>
              <a:spcPct val="0"/>
            </a:spcBef>
            <a:spcAft>
              <a:spcPct val="15000"/>
            </a:spcAft>
            <a:buChar char="•"/>
          </a:pPr>
          <a:r>
            <a:rPr lang="en-US" sz="1400" kern="1200" dirty="0"/>
            <a:t>incorporating stricter penalty functions to </a:t>
          </a:r>
          <a:r>
            <a:rPr lang="en-US" sz="1400" kern="1200" dirty="0" err="1"/>
            <a:t>maximise</a:t>
          </a:r>
          <a:r>
            <a:rPr lang="en-US" sz="1400" kern="1200" dirty="0"/>
            <a:t> efficiency with auction rules conformed</a:t>
          </a:r>
          <a:endParaRPr lang="en-US" sz="1400" kern="1200" dirty="0">
            <a:solidFill>
              <a:srgbClr val="010101">
                <a:hueOff val="0"/>
                <a:satOff val="0"/>
                <a:lumOff val="0"/>
                <a:alphaOff val="0"/>
              </a:srgbClr>
            </a:solidFill>
            <a:latin typeface="Aptos" panose="020B0004020202020204" pitchFamily="34" charset="0"/>
            <a:ea typeface="+mn-ea"/>
            <a:cs typeface="+mn-cs"/>
          </a:endParaRPr>
        </a:p>
      </dsp:txBody>
      <dsp:txXfrm rot="-5400000">
        <a:off x="1028041" y="2698825"/>
        <a:ext cx="9591995" cy="861409"/>
      </dsp:txXfrm>
    </dsp:sp>
    <dsp:sp modelId="{225FF700-E011-40A5-AEFF-B212ED6B528A}">
      <dsp:nvSpPr>
        <dsp:cNvPr id="0" name=""/>
        <dsp:cNvSpPr/>
      </dsp:nvSpPr>
      <dsp:spPr>
        <a:xfrm rot="5400000">
          <a:off x="-220294" y="4196767"/>
          <a:ext cx="1468630" cy="1028041"/>
        </a:xfrm>
        <a:prstGeom prst="chevron">
          <a:avLst/>
        </a:prstGeom>
        <a:solidFill>
          <a:schemeClr val="accent2">
            <a:alpha val="90000"/>
            <a:hueOff val="0"/>
            <a:satOff val="0"/>
            <a:lumOff val="0"/>
            <a:alphaOff val="-40000"/>
          </a:schemeClr>
        </a:solidFill>
        <a:ln w="12700" cap="flat" cmpd="sng" algn="ctr">
          <a:solidFill>
            <a:schemeClr val="bg2">
              <a:alpha val="6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tx1"/>
              </a:solidFill>
              <a:latin typeface="Aptos" panose="020B0004020202020204" pitchFamily="34" charset="0"/>
            </a:rPr>
            <a:t>4 </a:t>
          </a:r>
        </a:p>
      </dsp:txBody>
      <dsp:txXfrm rot="-5400000">
        <a:off x="1" y="4490494"/>
        <a:ext cx="1028041" cy="440589"/>
      </dsp:txXfrm>
    </dsp:sp>
    <dsp:sp modelId="{77F005C7-3B84-4329-84D7-F21CFFE8767D}">
      <dsp:nvSpPr>
        <dsp:cNvPr id="0" name=""/>
        <dsp:cNvSpPr/>
      </dsp:nvSpPr>
      <dsp:spPr>
        <a:xfrm rot="5400000">
          <a:off x="5370034" y="-365520"/>
          <a:ext cx="954609" cy="9638595"/>
        </a:xfrm>
        <a:prstGeom prst="round2SameRect">
          <a:avLst/>
        </a:prstGeom>
        <a:solidFill>
          <a:schemeClr val="lt1">
            <a:alpha val="90000"/>
            <a:hueOff val="0"/>
            <a:satOff val="0"/>
            <a:lumOff val="0"/>
            <a:alphaOff val="0"/>
          </a:schemeClr>
        </a:solidFill>
        <a:ln w="12700" cap="flat" cmpd="sng" algn="ctr">
          <a:solidFill>
            <a:schemeClr val="bg2">
              <a:alpha val="6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rgbClr val="010101">
                  <a:hueOff val="0"/>
                  <a:satOff val="0"/>
                  <a:lumOff val="0"/>
                  <a:alphaOff val="0"/>
                </a:srgbClr>
              </a:solidFill>
              <a:latin typeface="Aptos" panose="020B0004020202020204" pitchFamily="34" charset="0"/>
              <a:ea typeface="+mn-ea"/>
              <a:cs typeface="+mn-cs"/>
            </a:rPr>
            <a:t>Ariba rules review and efficiency mapping</a:t>
          </a:r>
        </a:p>
      </dsp:txBody>
      <dsp:txXfrm rot="-5400000">
        <a:off x="1028041" y="4023073"/>
        <a:ext cx="9591995" cy="861409"/>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BE5FA5-48FD-0F42-955A-FE7376EA5C25}" type="datetimeFigureOut">
              <a:rPr lang="en-US" smtClean="0"/>
              <a:t>3/1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98975A-C83C-4B4B-A264-2AFD70F782E6}" type="slidenum">
              <a:rPr lang="en-US" smtClean="0"/>
              <a:t>‹#›</a:t>
            </a:fld>
            <a:endParaRPr lang="en-US"/>
          </a:p>
        </p:txBody>
      </p:sp>
    </p:spTree>
    <p:extLst>
      <p:ext uri="{BB962C8B-B14F-4D97-AF65-F5344CB8AC3E}">
        <p14:creationId xmlns:p14="http://schemas.microsoft.com/office/powerpoint/2010/main" val="20126967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898975A-C83C-4B4B-A264-2AFD70F782E6}" type="slidenum">
              <a:rPr lang="en-US" smtClean="0"/>
              <a:t>1</a:t>
            </a:fld>
            <a:endParaRPr lang="en-US"/>
          </a:p>
        </p:txBody>
      </p:sp>
    </p:spTree>
    <p:extLst>
      <p:ext uri="{BB962C8B-B14F-4D97-AF65-F5344CB8AC3E}">
        <p14:creationId xmlns:p14="http://schemas.microsoft.com/office/powerpoint/2010/main" val="1833070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a:t>
            </a:r>
            <a:r>
              <a:rPr lang="en-US" b="1" dirty="0"/>
              <a:t>Purchasing Chessboard</a:t>
            </a:r>
            <a:r>
              <a:rPr lang="en-US" dirty="0"/>
              <a:t> is a strategic sourcing tool that categorizes different procurement strategies based on two main axes: </a:t>
            </a:r>
            <a:r>
              <a:rPr lang="en-US" b="1" dirty="0"/>
              <a:t>supply power</a:t>
            </a:r>
            <a:r>
              <a:rPr lang="en-US" dirty="0"/>
              <a:t> (the leverage suppliers have in the relationship) and </a:t>
            </a:r>
            <a:r>
              <a:rPr lang="en-US" b="1" dirty="0"/>
              <a:t>demand power</a:t>
            </a:r>
            <a:r>
              <a:rPr lang="en-US" dirty="0"/>
              <a:t> (the leverage the buyer has). It is designed to help procurement professionals decide the best sourcing strategy to adopt, depending on the current market dynamics, supplier relationships, and the buyer’s needs.</a:t>
            </a:r>
          </a:p>
          <a:p>
            <a:r>
              <a:rPr lang="en-US" b="1" dirty="0"/>
              <a:t>Explanation of Key Elements for a General Audience:</a:t>
            </a:r>
          </a:p>
          <a:p>
            <a:pPr>
              <a:buFont typeface="Arial" panose="020B0604020202020204" pitchFamily="34" charset="0"/>
              <a:buChar char="•"/>
            </a:pPr>
            <a:r>
              <a:rPr lang="en-US" b="1" dirty="0"/>
              <a:t>Supply Power (Vertical Axis)</a:t>
            </a:r>
            <a:r>
              <a:rPr lang="en-US" dirty="0"/>
              <a:t>: This represents how much control or leverage the supplier has in the market. If a supplier has a unique product or limited competition, they have high supply power.</a:t>
            </a:r>
          </a:p>
          <a:p>
            <a:pPr>
              <a:buFont typeface="Arial" panose="020B0604020202020204" pitchFamily="34" charset="0"/>
              <a:buChar char="•"/>
            </a:pPr>
            <a:r>
              <a:rPr lang="en-US" b="1" dirty="0"/>
              <a:t>Demand Power (Horizontal Axis)</a:t>
            </a:r>
            <a:r>
              <a:rPr lang="en-US" dirty="0"/>
              <a:t>: This shows how much control or leverage the buyer has over the supply market. If there are many suppliers, the buyer has more demand power; if the buyer is one of the few, the power is lower.</a:t>
            </a:r>
          </a:p>
          <a:p>
            <a:r>
              <a:rPr lang="en-US" b="1" dirty="0"/>
              <a:t>Key Strategies in the Chessboard (with an Example)</a:t>
            </a:r>
          </a:p>
          <a:p>
            <a:pPr>
              <a:buFont typeface="+mj-lt"/>
              <a:buAutoNum type="arabicPeriod"/>
            </a:pPr>
            <a:r>
              <a:rPr lang="en-US" b="1" dirty="0"/>
              <a:t>High Supply Power and Low Demand Power (Top-left corner)</a:t>
            </a:r>
            <a:r>
              <a:rPr lang="en-US" dirty="0"/>
              <a:t>:</a:t>
            </a:r>
          </a:p>
          <a:p>
            <a:pPr marL="742950" lvl="1" indent="-285750">
              <a:buFont typeface="+mj-lt"/>
              <a:buAutoNum type="arabicPeriod"/>
            </a:pPr>
            <a:r>
              <a:rPr lang="en-US" b="1" dirty="0"/>
              <a:t>Strategy: "Invention on Demand"</a:t>
            </a:r>
            <a:r>
              <a:rPr lang="en-US" dirty="0"/>
              <a:t> </a:t>
            </a:r>
          </a:p>
          <a:p>
            <a:pPr marL="1143000" lvl="2" indent="-228600">
              <a:buFont typeface="+mj-lt"/>
              <a:buAutoNum type="arabicPeriod"/>
            </a:pPr>
            <a:r>
              <a:rPr lang="en-US" dirty="0"/>
              <a:t>This is where the supplier has the upper hand because there are limited options available. The buyer’s best option is to encourage innovation by working closely with the supplier to develop new solutions.</a:t>
            </a:r>
          </a:p>
          <a:p>
            <a:pPr marL="1143000" lvl="2" indent="-228600">
              <a:buFont typeface="+mj-lt"/>
              <a:buAutoNum type="arabicPeriod"/>
            </a:pPr>
            <a:r>
              <a:rPr lang="en-US" b="1" dirty="0"/>
              <a:t>Example</a:t>
            </a:r>
            <a:r>
              <a:rPr lang="en-US" dirty="0"/>
              <a:t>: A car manufacturer needing a very specific, advanced technology from a limited supplier might collaborate with the supplier to create new features or designs that could meet their needs.</a:t>
            </a:r>
          </a:p>
          <a:p>
            <a:pPr>
              <a:buFont typeface="+mj-lt"/>
              <a:buAutoNum type="arabicPeriod"/>
            </a:pPr>
            <a:r>
              <a:rPr lang="en-US" b="1" dirty="0"/>
              <a:t>High Supply Power and High Demand Power (Top-right corner)</a:t>
            </a:r>
            <a:r>
              <a:rPr lang="en-US" dirty="0"/>
              <a:t>:</a:t>
            </a:r>
          </a:p>
          <a:p>
            <a:pPr marL="742950" lvl="1" indent="-285750">
              <a:buFont typeface="+mj-lt"/>
              <a:buAutoNum type="arabicPeriod"/>
            </a:pPr>
            <a:r>
              <a:rPr lang="en-US" b="1" dirty="0"/>
              <a:t>Strategy: "Strategic Alliance"</a:t>
            </a:r>
            <a:r>
              <a:rPr lang="en-US" dirty="0"/>
              <a:t> </a:t>
            </a:r>
          </a:p>
          <a:p>
            <a:pPr marL="1143000" lvl="2" indent="-228600">
              <a:buFont typeface="+mj-lt"/>
              <a:buAutoNum type="arabicPeriod"/>
            </a:pPr>
            <a:r>
              <a:rPr lang="en-US" dirty="0"/>
              <a:t>In this case, both the supplier and the buyer are important to each other, so they form a long-term partnership. This could involve sharing risks, rewards, and investments.</a:t>
            </a:r>
          </a:p>
          <a:p>
            <a:pPr marL="1143000" lvl="2" indent="-228600">
              <a:buFont typeface="+mj-lt"/>
              <a:buAutoNum type="arabicPeriod"/>
            </a:pPr>
            <a:r>
              <a:rPr lang="en-US" b="1" dirty="0"/>
              <a:t>Example</a:t>
            </a:r>
            <a:r>
              <a:rPr lang="en-US" dirty="0"/>
              <a:t>: A technology company forming a partnership with a component manufacturer to jointly develop a new product line, ensuring both sides benefit from the innovation and shared market insights.</a:t>
            </a:r>
          </a:p>
          <a:p>
            <a:pPr>
              <a:buFont typeface="+mj-lt"/>
              <a:buAutoNum type="arabicPeriod"/>
            </a:pPr>
            <a:r>
              <a:rPr lang="en-US" b="1" dirty="0"/>
              <a:t>Low Supply Power and Low Demand Power (Bottom-left corner)</a:t>
            </a:r>
            <a:r>
              <a:rPr lang="en-US" dirty="0"/>
              <a:t>:</a:t>
            </a:r>
          </a:p>
          <a:p>
            <a:pPr marL="742950" lvl="1" indent="-285750">
              <a:buFont typeface="+mj-lt"/>
              <a:buAutoNum type="arabicPeriod"/>
            </a:pPr>
            <a:r>
              <a:rPr lang="en-US" b="1" dirty="0"/>
              <a:t>Strategy: "Contract Management"</a:t>
            </a:r>
            <a:r>
              <a:rPr lang="en-US" dirty="0"/>
              <a:t> </a:t>
            </a:r>
          </a:p>
          <a:p>
            <a:pPr marL="1143000" lvl="2" indent="-228600">
              <a:buFont typeface="+mj-lt"/>
              <a:buAutoNum type="arabicPeriod"/>
            </a:pPr>
            <a:r>
              <a:rPr lang="en-US" dirty="0"/>
              <a:t>This strategy is focused on negotiating basic agreements that protect both the buyer and supplier. There’s limited room for leveraging prices, so managing contracts effectively is crucial.</a:t>
            </a:r>
          </a:p>
          <a:p>
            <a:pPr marL="1143000" lvl="2" indent="-228600">
              <a:buFont typeface="+mj-lt"/>
              <a:buAutoNum type="arabicPeriod"/>
            </a:pPr>
            <a:r>
              <a:rPr lang="en-US" b="1" dirty="0"/>
              <a:t>Example</a:t>
            </a:r>
            <a:r>
              <a:rPr lang="en-US" dirty="0"/>
              <a:t>: A small business purchasing raw materials in small quantities from multiple suppliers would focus on ensuring terms are clear and favorable within a contract, since neither side has much leverage.</a:t>
            </a:r>
          </a:p>
          <a:p>
            <a:pPr>
              <a:buFont typeface="+mj-lt"/>
              <a:buAutoNum type="arabicPeriod"/>
            </a:pPr>
            <a:r>
              <a:rPr lang="en-US" b="1" dirty="0"/>
              <a:t>Low Supply Power and High Demand Power (Bottom-right corner)</a:t>
            </a:r>
            <a:r>
              <a:rPr lang="en-US" dirty="0"/>
              <a:t>:</a:t>
            </a:r>
          </a:p>
          <a:p>
            <a:pPr marL="742950" lvl="1" indent="-285750">
              <a:buFont typeface="+mj-lt"/>
              <a:buAutoNum type="arabicPeriod"/>
            </a:pPr>
            <a:r>
              <a:rPr lang="en-US" b="1" dirty="0"/>
              <a:t>Strategy: "Best Shoring"</a:t>
            </a:r>
            <a:r>
              <a:rPr lang="en-US" dirty="0"/>
              <a:t> </a:t>
            </a:r>
          </a:p>
          <a:p>
            <a:pPr marL="1143000" lvl="2" indent="-228600">
              <a:buFont typeface="+mj-lt"/>
              <a:buAutoNum type="arabicPeriod"/>
            </a:pPr>
            <a:r>
              <a:rPr lang="en-US" dirty="0"/>
              <a:t>This strategy aims to optimize the location of suppliers based on cost, quality, and delivery times. The buyer has the upper hand, so they can negotiate better terms by focusing on global sourcing.</a:t>
            </a:r>
          </a:p>
          <a:p>
            <a:pPr marL="1143000" lvl="2" indent="-228600">
              <a:buFont typeface="+mj-lt"/>
              <a:buAutoNum type="arabicPeriod"/>
            </a:pPr>
            <a:r>
              <a:rPr lang="en-US" b="1" dirty="0"/>
              <a:t>Example</a:t>
            </a:r>
            <a:r>
              <a:rPr lang="en-US" dirty="0"/>
              <a:t>: A multinational company sourcing components from several countries to ensure the best quality at the lowest price, based on the buyer’s ability to drive competition among suppliers.</a:t>
            </a:r>
          </a:p>
          <a:p>
            <a:r>
              <a:rPr lang="en-US" b="1" dirty="0"/>
              <a:t>Key Takeaways for an Audience with No Background:</a:t>
            </a:r>
          </a:p>
          <a:p>
            <a:pPr>
              <a:buFont typeface="Arial" panose="020B0604020202020204" pitchFamily="34" charset="0"/>
              <a:buChar char="•"/>
            </a:pPr>
            <a:r>
              <a:rPr lang="en-US" b="1" dirty="0"/>
              <a:t>The chessboard helps buyers choose the right sourcing strategy</a:t>
            </a:r>
            <a:r>
              <a:rPr lang="en-US" dirty="0"/>
              <a:t> based on their position in the market (how much influence they have) and the position of suppliers (how much influence they have).</a:t>
            </a:r>
          </a:p>
          <a:p>
            <a:pPr>
              <a:buFont typeface="Arial" panose="020B0604020202020204" pitchFamily="34" charset="0"/>
              <a:buChar char="•"/>
            </a:pPr>
            <a:r>
              <a:rPr lang="en-US" b="1" dirty="0"/>
              <a:t>Strategies vary</a:t>
            </a:r>
            <a:r>
              <a:rPr lang="en-US" dirty="0"/>
              <a:t> depending on whether the buyer has strong negotiating power or not. Some strategies focus on innovation and long-term partnerships, while others focus on getting the best deal by sourcing from multiple suppliers.</a:t>
            </a:r>
          </a:p>
          <a:p>
            <a:pPr>
              <a:buFont typeface="Arial" panose="020B0604020202020204" pitchFamily="34" charset="0"/>
              <a:buChar char="•"/>
            </a:pPr>
            <a:r>
              <a:rPr lang="en-US" b="1" dirty="0"/>
              <a:t>The goal</a:t>
            </a:r>
            <a:r>
              <a:rPr lang="en-US" dirty="0"/>
              <a:t> is to select the strategy that aligns with current market conditions, supply capabilities, and the buyer's needs.</a:t>
            </a:r>
          </a:p>
          <a:p>
            <a:endParaRPr lang="en-US" dirty="0"/>
          </a:p>
        </p:txBody>
      </p:sp>
      <p:sp>
        <p:nvSpPr>
          <p:cNvPr id="4" name="Slide Number Placeholder 3"/>
          <p:cNvSpPr>
            <a:spLocks noGrp="1"/>
          </p:cNvSpPr>
          <p:nvPr>
            <p:ph type="sldNum" sz="quarter" idx="5"/>
          </p:nvPr>
        </p:nvSpPr>
        <p:spPr/>
        <p:txBody>
          <a:bodyPr/>
          <a:lstStyle/>
          <a:p>
            <a:fld id="{2898975A-C83C-4B4B-A264-2AFD70F782E6}" type="slidenum">
              <a:rPr lang="en-US" smtClean="0"/>
              <a:t>3</a:t>
            </a:fld>
            <a:endParaRPr lang="en-US" dirty="0"/>
          </a:p>
        </p:txBody>
      </p:sp>
    </p:spTree>
    <p:extLst>
      <p:ext uri="{BB962C8B-B14F-4D97-AF65-F5344CB8AC3E}">
        <p14:creationId xmlns:p14="http://schemas.microsoft.com/office/powerpoint/2010/main" val="19649019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lide starts after the demo where the value is shown with an example</a:t>
            </a:r>
          </a:p>
          <a:p>
            <a:endParaRPr lang="en-US"/>
          </a:p>
          <a:p>
            <a:r>
              <a:rPr lang="en-US"/>
              <a:t>Story line</a:t>
            </a:r>
            <a:br>
              <a:rPr lang="en-US"/>
            </a:br>
            <a:r>
              <a:rPr lang="en-US"/>
              <a:t>We see the distribution of NAZ Zone below. Normally distributed uplift numbers where maximum uplift seen between 4 to 9%</a:t>
            </a:r>
          </a:p>
          <a:p>
            <a:endParaRPr lang="en-US"/>
          </a:p>
          <a:p>
            <a:r>
              <a:rPr lang="en-US"/>
              <a:t>We need to show a total of value when the new optimum variables are used for all events (Showcase the count), current spend, optimum spend and total savings</a:t>
            </a:r>
          </a:p>
          <a:p>
            <a:endParaRPr lang="en-US"/>
          </a:p>
          <a:p>
            <a:r>
              <a:rPr lang="en-US"/>
              <a:t>If we can show </a:t>
            </a:r>
            <a:r>
              <a:rPr lang="en-US" err="1"/>
              <a:t>th</a:t>
            </a:r>
            <a:r>
              <a:rPr lang="en-US"/>
              <a:t> uplift across zones and their values would be good</a:t>
            </a:r>
          </a:p>
        </p:txBody>
      </p:sp>
      <p:sp>
        <p:nvSpPr>
          <p:cNvPr id="4" name="Slide Number Placeholder 3"/>
          <p:cNvSpPr>
            <a:spLocks noGrp="1"/>
          </p:cNvSpPr>
          <p:nvPr>
            <p:ph type="sldNum" sz="quarter" idx="5"/>
          </p:nvPr>
        </p:nvSpPr>
        <p:spPr/>
        <p:txBody>
          <a:bodyPr/>
          <a:lstStyle/>
          <a:p>
            <a:fld id="{2898975A-C83C-4B4B-A264-2AFD70F782E6}" type="slidenum">
              <a:rPr lang="en-US" smtClean="0"/>
              <a:t>9</a:t>
            </a:fld>
            <a:endParaRPr lang="en-US"/>
          </a:p>
        </p:txBody>
      </p:sp>
    </p:spTree>
    <p:extLst>
      <p:ext uri="{BB962C8B-B14F-4D97-AF65-F5344CB8AC3E}">
        <p14:creationId xmlns:p14="http://schemas.microsoft.com/office/powerpoint/2010/main" val="29796905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2264B6B-D79E-2244-91AE-D29EA8C8A3BA}"/>
              </a:ext>
            </a:extLst>
          </p:cNvPr>
          <p:cNvPicPr>
            <a:picLocks noChangeAspect="1"/>
          </p:cNvPicPr>
          <p:nvPr userDrawn="1"/>
        </p:nvPicPr>
        <p:blipFill rotWithShape="1">
          <a:blip r:embed="rId2"/>
          <a:srcRect l="15541" t="8017" r="26663" b="34061"/>
          <a:stretch/>
        </p:blipFill>
        <p:spPr>
          <a:xfrm>
            <a:off x="-1" y="-11290"/>
            <a:ext cx="12192001" cy="6869290"/>
          </a:xfrm>
          <a:prstGeom prst="rect">
            <a:avLst/>
          </a:prstGeom>
        </p:spPr>
      </p:pic>
      <p:grpSp>
        <p:nvGrpSpPr>
          <p:cNvPr id="25" name="Graphic 4">
            <a:extLst>
              <a:ext uri="{FF2B5EF4-FFF2-40B4-BE49-F238E27FC236}">
                <a16:creationId xmlns:a16="http://schemas.microsoft.com/office/drawing/2014/main" id="{7E7758C5-ECC7-B540-BC94-E927D20811EE}"/>
              </a:ext>
            </a:extLst>
          </p:cNvPr>
          <p:cNvGrpSpPr/>
          <p:nvPr userDrawn="1"/>
        </p:nvGrpSpPr>
        <p:grpSpPr>
          <a:xfrm>
            <a:off x="453487" y="610181"/>
            <a:ext cx="2029870" cy="373384"/>
            <a:chOff x="497541" y="-650117"/>
            <a:chExt cx="2029870" cy="373384"/>
          </a:xfrm>
          <a:solidFill>
            <a:srgbClr val="010101"/>
          </a:solidFill>
        </p:grpSpPr>
        <p:sp>
          <p:nvSpPr>
            <p:cNvPr id="26" name="Freeform 25">
              <a:extLst>
                <a:ext uri="{FF2B5EF4-FFF2-40B4-BE49-F238E27FC236}">
                  <a16:creationId xmlns:a16="http://schemas.microsoft.com/office/drawing/2014/main" id="{C0E54352-DA9D-6A45-8DDA-592DA4618DFE}"/>
                </a:ext>
              </a:extLst>
            </p:cNvPr>
            <p:cNvSpPr/>
            <p:nvPr/>
          </p:nvSpPr>
          <p:spPr>
            <a:xfrm>
              <a:off x="497541" y="-650117"/>
              <a:ext cx="375677" cy="373384"/>
            </a:xfrm>
            <a:custGeom>
              <a:avLst/>
              <a:gdLst>
                <a:gd name="connsiteX0" fmla="*/ 187684 w 375677"/>
                <a:gd name="connsiteY0" fmla="*/ 231177 h 373384"/>
                <a:gd name="connsiteX1" fmla="*/ 231092 w 375677"/>
                <a:gd name="connsiteY1" fmla="*/ 370542 h 373384"/>
                <a:gd name="connsiteX2" fmla="*/ 370493 w 375677"/>
                <a:gd name="connsiteY2" fmla="*/ 144178 h 373384"/>
                <a:gd name="connsiteX3" fmla="*/ 311605 w 375677"/>
                <a:gd name="connsiteY3" fmla="*/ 46614 h 373384"/>
                <a:gd name="connsiteX4" fmla="*/ 187684 w 375677"/>
                <a:gd name="connsiteY4" fmla="*/ 231177 h 373384"/>
                <a:gd name="connsiteX5" fmla="*/ 45210 w 375677"/>
                <a:gd name="connsiteY5" fmla="*/ 172958 h 373384"/>
                <a:gd name="connsiteX6" fmla="*/ 220168 w 375677"/>
                <a:gd name="connsiteY6" fmla="*/ 2895 h 373384"/>
                <a:gd name="connsiteX7" fmla="*/ 2171 w 375677"/>
                <a:gd name="connsiteY7" fmla="*/ 155143 h 373384"/>
                <a:gd name="connsiteX8" fmla="*/ 0 w 375677"/>
                <a:gd name="connsiteY8" fmla="*/ 171653 h 373384"/>
                <a:gd name="connsiteX9" fmla="*/ 45210 w 375677"/>
                <a:gd name="connsiteY9" fmla="*/ 172958 h 373384"/>
                <a:gd name="connsiteX10" fmla="*/ 38426 w 375677"/>
                <a:gd name="connsiteY10" fmla="*/ 231699 h 373384"/>
                <a:gd name="connsiteX11" fmla="*/ 2513 w 375677"/>
                <a:gd name="connsiteY11" fmla="*/ 222274 h 373384"/>
                <a:gd name="connsiteX12" fmla="*/ 158628 w 375677"/>
                <a:gd name="connsiteY12" fmla="*/ 373384 h 373384"/>
                <a:gd name="connsiteX13" fmla="*/ 38426 w 375677"/>
                <a:gd name="connsiteY13" fmla="*/ 231699 h 37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77" h="373384">
                  <a:moveTo>
                    <a:pt x="187684" y="231177"/>
                  </a:moveTo>
                  <a:cubicBezTo>
                    <a:pt x="185300" y="281280"/>
                    <a:pt x="200669" y="330620"/>
                    <a:pt x="231092" y="370542"/>
                  </a:cubicBezTo>
                  <a:cubicBezTo>
                    <a:pt x="332213" y="346456"/>
                    <a:pt x="394624" y="245109"/>
                    <a:pt x="370493" y="144178"/>
                  </a:cubicBezTo>
                  <a:cubicBezTo>
                    <a:pt x="361450" y="106358"/>
                    <a:pt x="340875" y="72270"/>
                    <a:pt x="311605" y="46614"/>
                  </a:cubicBezTo>
                  <a:cubicBezTo>
                    <a:pt x="239091" y="80307"/>
                    <a:pt x="191340" y="151425"/>
                    <a:pt x="187684" y="231177"/>
                  </a:cubicBezTo>
                  <a:close/>
                  <a:moveTo>
                    <a:pt x="45210" y="172958"/>
                  </a:moveTo>
                  <a:cubicBezTo>
                    <a:pt x="139146" y="164779"/>
                    <a:pt x="211451" y="91726"/>
                    <a:pt x="220168" y="2895"/>
                  </a:cubicBezTo>
                  <a:cubicBezTo>
                    <a:pt x="117849" y="-15148"/>
                    <a:pt x="20248" y="53016"/>
                    <a:pt x="2171" y="155143"/>
                  </a:cubicBezTo>
                  <a:cubicBezTo>
                    <a:pt x="1203" y="160612"/>
                    <a:pt x="479" y="166120"/>
                    <a:pt x="0" y="171653"/>
                  </a:cubicBezTo>
                  <a:cubicBezTo>
                    <a:pt x="14969" y="173829"/>
                    <a:pt x="30140" y="174267"/>
                    <a:pt x="45210" y="172958"/>
                  </a:cubicBezTo>
                  <a:close/>
                  <a:moveTo>
                    <a:pt x="38426" y="231699"/>
                  </a:moveTo>
                  <a:cubicBezTo>
                    <a:pt x="26753" y="227519"/>
                    <a:pt x="14736" y="224366"/>
                    <a:pt x="2513" y="222274"/>
                  </a:cubicBezTo>
                  <a:cubicBezTo>
                    <a:pt x="17141" y="300613"/>
                    <a:pt x="79730" y="361196"/>
                    <a:pt x="158628" y="373384"/>
                  </a:cubicBezTo>
                  <a:cubicBezTo>
                    <a:pt x="156609" y="315484"/>
                    <a:pt x="109597" y="257162"/>
                    <a:pt x="38426" y="231699"/>
                  </a:cubicBezTo>
                  <a:close/>
                </a:path>
              </a:pathLst>
            </a:custGeom>
            <a:solidFill>
              <a:srgbClr val="010101"/>
            </a:solidFill>
            <a:ln w="145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422E281-917E-B74F-B168-E31E6BB6D96F}"/>
                </a:ext>
              </a:extLst>
            </p:cNvPr>
            <p:cNvSpPr/>
            <p:nvPr/>
          </p:nvSpPr>
          <p:spPr>
            <a:xfrm>
              <a:off x="1494055" y="-622846"/>
              <a:ext cx="54246" cy="312921"/>
            </a:xfrm>
            <a:custGeom>
              <a:avLst/>
              <a:gdLst>
                <a:gd name="connsiteX0" fmla="*/ 0 w 54246"/>
                <a:gd name="connsiteY0" fmla="*/ 0 h 312921"/>
                <a:gd name="connsiteX1" fmla="*/ 54247 w 54246"/>
                <a:gd name="connsiteY1" fmla="*/ 0 h 312921"/>
                <a:gd name="connsiteX2" fmla="*/ 54247 w 54246"/>
                <a:gd name="connsiteY2" fmla="*/ 312922 h 312921"/>
                <a:gd name="connsiteX3" fmla="*/ 0 w 54246"/>
                <a:gd name="connsiteY3" fmla="*/ 312922 h 312921"/>
              </a:gdLst>
              <a:ahLst/>
              <a:cxnLst>
                <a:cxn ang="0">
                  <a:pos x="connsiteX0" y="connsiteY0"/>
                </a:cxn>
                <a:cxn ang="0">
                  <a:pos x="connsiteX1" y="connsiteY1"/>
                </a:cxn>
                <a:cxn ang="0">
                  <a:pos x="connsiteX2" y="connsiteY2"/>
                </a:cxn>
                <a:cxn ang="0">
                  <a:pos x="connsiteX3" y="connsiteY3"/>
                </a:cxn>
              </a:cxnLst>
              <a:rect l="l" t="t" r="r" b="b"/>
              <a:pathLst>
                <a:path w="54246" h="312921">
                  <a:moveTo>
                    <a:pt x="0" y="0"/>
                  </a:moveTo>
                  <a:lnTo>
                    <a:pt x="54247" y="0"/>
                  </a:lnTo>
                  <a:lnTo>
                    <a:pt x="54247" y="312922"/>
                  </a:lnTo>
                  <a:lnTo>
                    <a:pt x="0" y="312922"/>
                  </a:lnTo>
                  <a:close/>
                </a:path>
              </a:pathLst>
            </a:custGeom>
            <a:solidFill>
              <a:srgbClr val="010101"/>
            </a:solidFill>
            <a:ln w="145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281E3174-F74F-F84F-90B1-8909ECE00B83}"/>
                </a:ext>
              </a:extLst>
            </p:cNvPr>
            <p:cNvSpPr/>
            <p:nvPr/>
          </p:nvSpPr>
          <p:spPr>
            <a:xfrm>
              <a:off x="1593657" y="-537104"/>
              <a:ext cx="202995" cy="227179"/>
            </a:xfrm>
            <a:custGeom>
              <a:avLst/>
              <a:gdLst>
                <a:gd name="connsiteX0" fmla="*/ 118401 w 202995"/>
                <a:gd name="connsiteY0" fmla="*/ 0 h 227179"/>
                <a:gd name="connsiteX1" fmla="*/ 48871 w 202995"/>
                <a:gd name="connsiteY1" fmla="*/ 37310 h 227179"/>
                <a:gd name="connsiteX2" fmla="*/ 48871 w 202995"/>
                <a:gd name="connsiteY2" fmla="*/ 4756 h 227179"/>
                <a:gd name="connsiteX3" fmla="*/ 0 w 202995"/>
                <a:gd name="connsiteY3" fmla="*/ 4756 h 227179"/>
                <a:gd name="connsiteX4" fmla="*/ 0 w 202995"/>
                <a:gd name="connsiteY4" fmla="*/ 227180 h 227179"/>
                <a:gd name="connsiteX5" fmla="*/ 52300 w 202995"/>
                <a:gd name="connsiteY5" fmla="*/ 227180 h 227179"/>
                <a:gd name="connsiteX6" fmla="*/ 52300 w 202995"/>
                <a:gd name="connsiteY6" fmla="*/ 109363 h 227179"/>
                <a:gd name="connsiteX7" fmla="*/ 54755 w 202995"/>
                <a:gd name="connsiteY7" fmla="*/ 84872 h 227179"/>
                <a:gd name="connsiteX8" fmla="*/ 103103 w 202995"/>
                <a:gd name="connsiteY8" fmla="*/ 46953 h 227179"/>
                <a:gd name="connsiteX9" fmla="*/ 148982 w 202995"/>
                <a:gd name="connsiteY9" fmla="*/ 85974 h 227179"/>
                <a:gd name="connsiteX10" fmla="*/ 150696 w 202995"/>
                <a:gd name="connsiteY10" fmla="*/ 109320 h 227179"/>
                <a:gd name="connsiteX11" fmla="*/ 150696 w 202995"/>
                <a:gd name="connsiteY11" fmla="*/ 227180 h 227179"/>
                <a:gd name="connsiteX12" fmla="*/ 202996 w 202995"/>
                <a:gd name="connsiteY12" fmla="*/ 227180 h 227179"/>
                <a:gd name="connsiteX13" fmla="*/ 202996 w 202995"/>
                <a:gd name="connsiteY13" fmla="*/ 95559 h 227179"/>
                <a:gd name="connsiteX14" fmla="*/ 198056 w 202995"/>
                <a:gd name="connsiteY14" fmla="*/ 56045 h 227179"/>
                <a:gd name="connsiteX15" fmla="*/ 118401 w 202995"/>
                <a:gd name="connsiteY15" fmla="*/ 0 h 227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2995" h="227179">
                  <a:moveTo>
                    <a:pt x="118401" y="0"/>
                  </a:moveTo>
                  <a:cubicBezTo>
                    <a:pt x="91394" y="0"/>
                    <a:pt x="65549" y="10150"/>
                    <a:pt x="48871" y="37310"/>
                  </a:cubicBezTo>
                  <a:lnTo>
                    <a:pt x="48871" y="4756"/>
                  </a:lnTo>
                  <a:lnTo>
                    <a:pt x="0" y="4756"/>
                  </a:lnTo>
                  <a:lnTo>
                    <a:pt x="0" y="227180"/>
                  </a:lnTo>
                  <a:lnTo>
                    <a:pt x="52300" y="227180"/>
                  </a:lnTo>
                  <a:lnTo>
                    <a:pt x="52300" y="109363"/>
                  </a:lnTo>
                  <a:cubicBezTo>
                    <a:pt x="52167" y="101132"/>
                    <a:pt x="52991" y="92913"/>
                    <a:pt x="54755" y="84872"/>
                  </a:cubicBezTo>
                  <a:cubicBezTo>
                    <a:pt x="60769" y="60888"/>
                    <a:pt x="77898" y="46953"/>
                    <a:pt x="103103" y="46953"/>
                  </a:cubicBezTo>
                  <a:cubicBezTo>
                    <a:pt x="129151" y="46953"/>
                    <a:pt x="144159" y="60003"/>
                    <a:pt x="148982" y="85974"/>
                  </a:cubicBezTo>
                  <a:cubicBezTo>
                    <a:pt x="150207" y="93694"/>
                    <a:pt x="150780" y="101503"/>
                    <a:pt x="150696" y="109320"/>
                  </a:cubicBezTo>
                  <a:lnTo>
                    <a:pt x="150696" y="227180"/>
                  </a:lnTo>
                  <a:lnTo>
                    <a:pt x="202996" y="227180"/>
                  </a:lnTo>
                  <a:lnTo>
                    <a:pt x="202996" y="95559"/>
                  </a:lnTo>
                  <a:cubicBezTo>
                    <a:pt x="202996" y="80783"/>
                    <a:pt x="201543" y="67442"/>
                    <a:pt x="198056" y="56045"/>
                  </a:cubicBezTo>
                  <a:cubicBezTo>
                    <a:pt x="186681" y="18242"/>
                    <a:pt x="156347" y="0"/>
                    <a:pt x="118401" y="0"/>
                  </a:cubicBezTo>
                  <a:close/>
                </a:path>
              </a:pathLst>
            </a:custGeom>
            <a:solidFill>
              <a:srgbClr val="010101"/>
            </a:solidFill>
            <a:ln w="145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5D6E0B5A-B49C-C949-8AB3-DDDC66549294}"/>
                </a:ext>
              </a:extLst>
            </p:cNvPr>
            <p:cNvSpPr/>
            <p:nvPr/>
          </p:nvSpPr>
          <p:spPr>
            <a:xfrm>
              <a:off x="1836081" y="-622846"/>
              <a:ext cx="224162" cy="312921"/>
            </a:xfrm>
            <a:custGeom>
              <a:avLst/>
              <a:gdLst>
                <a:gd name="connsiteX0" fmla="*/ 175669 w 224162"/>
                <a:gd name="connsiteY0" fmla="*/ 145672 h 312921"/>
                <a:gd name="connsiteX1" fmla="*/ 205800 w 224162"/>
                <a:gd name="connsiteY1" fmla="*/ 84132 h 312921"/>
                <a:gd name="connsiteX2" fmla="*/ 143331 w 224162"/>
                <a:gd name="connsiteY2" fmla="*/ 4176 h 312921"/>
                <a:gd name="connsiteX3" fmla="*/ 99108 w 224162"/>
                <a:gd name="connsiteY3" fmla="*/ 0 h 312921"/>
                <a:gd name="connsiteX4" fmla="*/ 0 w 224162"/>
                <a:gd name="connsiteY4" fmla="*/ 0 h 312921"/>
                <a:gd name="connsiteX5" fmla="*/ 0 w 224162"/>
                <a:gd name="connsiteY5" fmla="*/ 312922 h 312921"/>
                <a:gd name="connsiteX6" fmla="*/ 110992 w 224162"/>
                <a:gd name="connsiteY6" fmla="*/ 312922 h 312921"/>
                <a:gd name="connsiteX7" fmla="*/ 161330 w 224162"/>
                <a:gd name="connsiteY7" fmla="*/ 305860 h 312921"/>
                <a:gd name="connsiteX8" fmla="*/ 224163 w 224162"/>
                <a:gd name="connsiteY8" fmla="*/ 221641 h 312921"/>
                <a:gd name="connsiteX9" fmla="*/ 175669 w 224162"/>
                <a:gd name="connsiteY9" fmla="*/ 145672 h 312921"/>
                <a:gd name="connsiteX10" fmla="*/ 53636 w 224162"/>
                <a:gd name="connsiteY10" fmla="*/ 49113 h 312921"/>
                <a:gd name="connsiteX11" fmla="*/ 101810 w 224162"/>
                <a:gd name="connsiteY11" fmla="*/ 49113 h 312921"/>
                <a:gd name="connsiteX12" fmla="*/ 131970 w 224162"/>
                <a:gd name="connsiteY12" fmla="*/ 54073 h 312921"/>
                <a:gd name="connsiteX13" fmla="*/ 152091 w 224162"/>
                <a:gd name="connsiteY13" fmla="*/ 88207 h 312921"/>
                <a:gd name="connsiteX14" fmla="*/ 131258 w 224162"/>
                <a:gd name="connsiteY14" fmla="*/ 122762 h 312921"/>
                <a:gd name="connsiteX15" fmla="*/ 103655 w 224162"/>
                <a:gd name="connsiteY15" fmla="*/ 127329 h 312921"/>
                <a:gd name="connsiteX16" fmla="*/ 53665 w 224162"/>
                <a:gd name="connsiteY16" fmla="*/ 127329 h 312921"/>
                <a:gd name="connsiteX17" fmla="*/ 134992 w 224162"/>
                <a:gd name="connsiteY17" fmla="*/ 261967 h 312921"/>
                <a:gd name="connsiteX18" fmla="*/ 113752 w 224162"/>
                <a:gd name="connsiteY18" fmla="*/ 263808 h 312921"/>
                <a:gd name="connsiteX19" fmla="*/ 53665 w 224162"/>
                <a:gd name="connsiteY19" fmla="*/ 263808 h 312921"/>
                <a:gd name="connsiteX20" fmla="*/ 53665 w 224162"/>
                <a:gd name="connsiteY20" fmla="*/ 175573 h 312921"/>
                <a:gd name="connsiteX21" fmla="*/ 118270 w 224162"/>
                <a:gd name="connsiteY21" fmla="*/ 175573 h 312921"/>
                <a:gd name="connsiteX22" fmla="*/ 135369 w 224162"/>
                <a:gd name="connsiteY22" fmla="*/ 177197 h 312921"/>
                <a:gd name="connsiteX23" fmla="*/ 170497 w 224162"/>
                <a:gd name="connsiteY23" fmla="*/ 219625 h 312921"/>
                <a:gd name="connsiteX24" fmla="*/ 134963 w 224162"/>
                <a:gd name="connsiteY24" fmla="*/ 261967 h 312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4162" h="312921">
                  <a:moveTo>
                    <a:pt x="175669" y="145672"/>
                  </a:moveTo>
                  <a:cubicBezTo>
                    <a:pt x="196880" y="129417"/>
                    <a:pt x="205800" y="110770"/>
                    <a:pt x="205800" y="84132"/>
                  </a:cubicBezTo>
                  <a:cubicBezTo>
                    <a:pt x="205800" y="44256"/>
                    <a:pt x="181103" y="14370"/>
                    <a:pt x="143331" y="4176"/>
                  </a:cubicBezTo>
                  <a:cubicBezTo>
                    <a:pt x="133539" y="1552"/>
                    <a:pt x="117631" y="0"/>
                    <a:pt x="99108" y="0"/>
                  </a:cubicBezTo>
                  <a:lnTo>
                    <a:pt x="0" y="0"/>
                  </a:lnTo>
                  <a:lnTo>
                    <a:pt x="0" y="312922"/>
                  </a:lnTo>
                  <a:lnTo>
                    <a:pt x="110992" y="312922"/>
                  </a:lnTo>
                  <a:cubicBezTo>
                    <a:pt x="132624" y="312922"/>
                    <a:pt x="147122" y="310863"/>
                    <a:pt x="161330" y="305860"/>
                  </a:cubicBezTo>
                  <a:cubicBezTo>
                    <a:pt x="198521" y="292809"/>
                    <a:pt x="224163" y="263939"/>
                    <a:pt x="224163" y="221641"/>
                  </a:cubicBezTo>
                  <a:cubicBezTo>
                    <a:pt x="224163" y="186332"/>
                    <a:pt x="207354" y="161232"/>
                    <a:pt x="175669" y="145672"/>
                  </a:cubicBezTo>
                  <a:close/>
                  <a:moveTo>
                    <a:pt x="53636" y="49113"/>
                  </a:moveTo>
                  <a:lnTo>
                    <a:pt x="101810" y="49113"/>
                  </a:lnTo>
                  <a:cubicBezTo>
                    <a:pt x="112793" y="49113"/>
                    <a:pt x="124473" y="50563"/>
                    <a:pt x="131970" y="54073"/>
                  </a:cubicBezTo>
                  <a:cubicBezTo>
                    <a:pt x="145045" y="60090"/>
                    <a:pt x="152091" y="71328"/>
                    <a:pt x="152091" y="88207"/>
                  </a:cubicBezTo>
                  <a:cubicBezTo>
                    <a:pt x="152091" y="105085"/>
                    <a:pt x="144580" y="116773"/>
                    <a:pt x="131258" y="122762"/>
                  </a:cubicBezTo>
                  <a:cubicBezTo>
                    <a:pt x="124590" y="125749"/>
                    <a:pt x="114856" y="127329"/>
                    <a:pt x="103655" y="127329"/>
                  </a:cubicBezTo>
                  <a:lnTo>
                    <a:pt x="53665" y="127329"/>
                  </a:lnTo>
                  <a:close/>
                  <a:moveTo>
                    <a:pt x="134992" y="261967"/>
                  </a:moveTo>
                  <a:cubicBezTo>
                    <a:pt x="127987" y="263261"/>
                    <a:pt x="120875" y="263877"/>
                    <a:pt x="113752" y="263808"/>
                  </a:cubicBezTo>
                  <a:lnTo>
                    <a:pt x="53665" y="263808"/>
                  </a:lnTo>
                  <a:lnTo>
                    <a:pt x="53665" y="175573"/>
                  </a:lnTo>
                  <a:lnTo>
                    <a:pt x="118270" y="175573"/>
                  </a:lnTo>
                  <a:cubicBezTo>
                    <a:pt x="124010" y="175541"/>
                    <a:pt x="129738" y="176085"/>
                    <a:pt x="135369" y="177197"/>
                  </a:cubicBezTo>
                  <a:cubicBezTo>
                    <a:pt x="160764" y="182823"/>
                    <a:pt x="170497" y="202819"/>
                    <a:pt x="170497" y="219625"/>
                  </a:cubicBezTo>
                  <a:cubicBezTo>
                    <a:pt x="170497" y="241855"/>
                    <a:pt x="156188" y="256935"/>
                    <a:pt x="134963" y="261967"/>
                  </a:cubicBezTo>
                  <a:close/>
                </a:path>
              </a:pathLst>
            </a:custGeom>
            <a:solidFill>
              <a:srgbClr val="010101"/>
            </a:solidFill>
            <a:ln w="145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5935C402-87FC-9C4D-81CE-9E56ECE7FCDF}"/>
                </a:ext>
              </a:extLst>
            </p:cNvPr>
            <p:cNvSpPr/>
            <p:nvPr/>
          </p:nvSpPr>
          <p:spPr>
            <a:xfrm>
              <a:off x="2302362" y="-532348"/>
              <a:ext cx="225048" cy="222423"/>
            </a:xfrm>
            <a:custGeom>
              <a:avLst/>
              <a:gdLst>
                <a:gd name="connsiteX0" fmla="*/ 169001 w 225048"/>
                <a:gd name="connsiteY0" fmla="*/ 0 h 222423"/>
                <a:gd name="connsiteX1" fmla="*/ 113215 w 225048"/>
                <a:gd name="connsiteY1" fmla="*/ 158897 h 222423"/>
                <a:gd name="connsiteX2" fmla="*/ 56600 w 225048"/>
                <a:gd name="connsiteY2" fmla="*/ 0 h 222423"/>
                <a:gd name="connsiteX3" fmla="*/ 0 w 225048"/>
                <a:gd name="connsiteY3" fmla="*/ 0 h 222423"/>
                <a:gd name="connsiteX4" fmla="*/ 88503 w 225048"/>
                <a:gd name="connsiteY4" fmla="*/ 222424 h 222423"/>
                <a:gd name="connsiteX5" fmla="*/ 136720 w 225048"/>
                <a:gd name="connsiteY5" fmla="*/ 222424 h 222423"/>
                <a:gd name="connsiteX6" fmla="*/ 225049 w 225048"/>
                <a:gd name="connsiteY6" fmla="*/ 0 h 222423"/>
                <a:gd name="connsiteX7" fmla="*/ 169001 w 225048"/>
                <a:gd name="connsiteY7" fmla="*/ 0 h 22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5048" h="222423">
                  <a:moveTo>
                    <a:pt x="169001" y="0"/>
                  </a:moveTo>
                  <a:lnTo>
                    <a:pt x="113215" y="158897"/>
                  </a:lnTo>
                  <a:lnTo>
                    <a:pt x="56600" y="0"/>
                  </a:lnTo>
                  <a:lnTo>
                    <a:pt x="0" y="0"/>
                  </a:lnTo>
                  <a:lnTo>
                    <a:pt x="88503" y="222424"/>
                  </a:lnTo>
                  <a:lnTo>
                    <a:pt x="136720" y="222424"/>
                  </a:lnTo>
                  <a:lnTo>
                    <a:pt x="225049" y="0"/>
                  </a:lnTo>
                  <a:lnTo>
                    <a:pt x="169001" y="0"/>
                  </a:lnTo>
                  <a:close/>
                </a:path>
              </a:pathLst>
            </a:custGeom>
            <a:solidFill>
              <a:srgbClr val="010101"/>
            </a:solidFill>
            <a:ln w="145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A1CC364-F4C8-7844-B75E-97248698E11B}"/>
                </a:ext>
              </a:extLst>
            </p:cNvPr>
            <p:cNvSpPr/>
            <p:nvPr/>
          </p:nvSpPr>
          <p:spPr>
            <a:xfrm>
              <a:off x="2079594" y="-537104"/>
              <a:ext cx="227215" cy="231936"/>
            </a:xfrm>
            <a:custGeom>
              <a:avLst/>
              <a:gdLst>
                <a:gd name="connsiteX0" fmla="*/ 112721 w 227215"/>
                <a:gd name="connsiteY0" fmla="*/ 0 h 231936"/>
                <a:gd name="connsiteX1" fmla="*/ 0 w 227215"/>
                <a:gd name="connsiteY1" fmla="*/ 117527 h 231936"/>
                <a:gd name="connsiteX2" fmla="*/ 114943 w 227215"/>
                <a:gd name="connsiteY2" fmla="*/ 231936 h 231936"/>
                <a:gd name="connsiteX3" fmla="*/ 220211 w 227215"/>
                <a:gd name="connsiteY3" fmla="*/ 158940 h 231936"/>
                <a:gd name="connsiteX4" fmla="*/ 167083 w 227215"/>
                <a:gd name="connsiteY4" fmla="*/ 158940 h 231936"/>
                <a:gd name="connsiteX5" fmla="*/ 115829 w 227215"/>
                <a:gd name="connsiteY5" fmla="*/ 186491 h 231936"/>
                <a:gd name="connsiteX6" fmla="*/ 51690 w 227215"/>
                <a:gd name="connsiteY6" fmla="*/ 134899 h 231936"/>
                <a:gd name="connsiteX7" fmla="*/ 225601 w 227215"/>
                <a:gd name="connsiteY7" fmla="*/ 134899 h 231936"/>
                <a:gd name="connsiteX8" fmla="*/ 227184 w 227215"/>
                <a:gd name="connsiteY8" fmla="*/ 113771 h 231936"/>
                <a:gd name="connsiteX9" fmla="*/ 112721 w 227215"/>
                <a:gd name="connsiteY9" fmla="*/ 0 h 231936"/>
                <a:gd name="connsiteX10" fmla="*/ 51850 w 227215"/>
                <a:gd name="connsiteY10" fmla="*/ 98473 h 231936"/>
                <a:gd name="connsiteX11" fmla="*/ 113200 w 227215"/>
                <a:gd name="connsiteY11" fmla="*/ 45416 h 231936"/>
                <a:gd name="connsiteX12" fmla="*/ 175349 w 227215"/>
                <a:gd name="connsiteY12" fmla="*/ 98473 h 231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7215" h="231936">
                  <a:moveTo>
                    <a:pt x="112721" y="0"/>
                  </a:moveTo>
                  <a:cubicBezTo>
                    <a:pt x="49293" y="0"/>
                    <a:pt x="0" y="50940"/>
                    <a:pt x="0" y="117527"/>
                  </a:cubicBezTo>
                  <a:cubicBezTo>
                    <a:pt x="0" y="178980"/>
                    <a:pt x="48537" y="231936"/>
                    <a:pt x="114943" y="231936"/>
                  </a:cubicBezTo>
                  <a:cubicBezTo>
                    <a:pt x="163451" y="231936"/>
                    <a:pt x="201020" y="204081"/>
                    <a:pt x="220211" y="158940"/>
                  </a:cubicBezTo>
                  <a:lnTo>
                    <a:pt x="167083" y="158940"/>
                  </a:lnTo>
                  <a:cubicBezTo>
                    <a:pt x="155112" y="176820"/>
                    <a:pt x="139074" y="186491"/>
                    <a:pt x="115829" y="186491"/>
                  </a:cubicBezTo>
                  <a:cubicBezTo>
                    <a:pt x="81210" y="186491"/>
                    <a:pt x="58561" y="166191"/>
                    <a:pt x="51690" y="134899"/>
                  </a:cubicBezTo>
                  <a:lnTo>
                    <a:pt x="225601" y="134899"/>
                  </a:lnTo>
                  <a:cubicBezTo>
                    <a:pt x="226825" y="127925"/>
                    <a:pt x="227355" y="120849"/>
                    <a:pt x="227184" y="113771"/>
                  </a:cubicBezTo>
                  <a:cubicBezTo>
                    <a:pt x="226647" y="54000"/>
                    <a:pt x="180696" y="0"/>
                    <a:pt x="112721" y="0"/>
                  </a:cubicBezTo>
                  <a:close/>
                  <a:moveTo>
                    <a:pt x="51850" y="98473"/>
                  </a:moveTo>
                  <a:cubicBezTo>
                    <a:pt x="55598" y="66456"/>
                    <a:pt x="81602" y="45416"/>
                    <a:pt x="113200" y="45416"/>
                  </a:cubicBezTo>
                  <a:cubicBezTo>
                    <a:pt x="146396" y="45416"/>
                    <a:pt x="171630" y="67355"/>
                    <a:pt x="175349" y="98473"/>
                  </a:cubicBezTo>
                  <a:close/>
                </a:path>
              </a:pathLst>
            </a:custGeom>
            <a:solidFill>
              <a:srgbClr val="010101"/>
            </a:solidFill>
            <a:ln w="1452"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6AFBA741-2ACB-D343-81BA-4782D6F3E540}"/>
                </a:ext>
              </a:extLst>
            </p:cNvPr>
            <p:cNvSpPr/>
            <p:nvPr/>
          </p:nvSpPr>
          <p:spPr>
            <a:xfrm>
              <a:off x="918597" y="-622860"/>
              <a:ext cx="543801" cy="312936"/>
            </a:xfrm>
            <a:custGeom>
              <a:avLst/>
              <a:gdLst>
                <a:gd name="connsiteX0" fmla="*/ 494756 w 543801"/>
                <a:gd name="connsiteY0" fmla="*/ 146122 h 312936"/>
                <a:gd name="connsiteX1" fmla="*/ 525351 w 543801"/>
                <a:gd name="connsiteY1" fmla="*/ 84147 h 312936"/>
                <a:gd name="connsiteX2" fmla="*/ 462882 w 543801"/>
                <a:gd name="connsiteY2" fmla="*/ 4191 h 312936"/>
                <a:gd name="connsiteX3" fmla="*/ 418660 w 543801"/>
                <a:gd name="connsiteY3" fmla="*/ 15 h 312936"/>
                <a:gd name="connsiteX4" fmla="*/ 319552 w 543801"/>
                <a:gd name="connsiteY4" fmla="*/ 15 h 312936"/>
                <a:gd name="connsiteX5" fmla="*/ 319552 w 543801"/>
                <a:gd name="connsiteY5" fmla="*/ 132056 h 312936"/>
                <a:gd name="connsiteX6" fmla="*/ 239649 w 543801"/>
                <a:gd name="connsiteY6" fmla="*/ 151299 h 312936"/>
                <a:gd name="connsiteX7" fmla="*/ 177732 w 543801"/>
                <a:gd name="connsiteY7" fmla="*/ 0 h 312936"/>
                <a:gd name="connsiteX8" fmla="*/ 127946 w 543801"/>
                <a:gd name="connsiteY8" fmla="*/ 0 h 312936"/>
                <a:gd name="connsiteX9" fmla="*/ 0 w 543801"/>
                <a:gd name="connsiteY9" fmla="*/ 312936 h 312936"/>
                <a:gd name="connsiteX10" fmla="*/ 52198 w 543801"/>
                <a:gd name="connsiteY10" fmla="*/ 312936 h 312936"/>
                <a:gd name="connsiteX11" fmla="*/ 207252 w 543801"/>
                <a:gd name="connsiteY11" fmla="*/ 208532 h 312936"/>
                <a:gd name="connsiteX12" fmla="*/ 246477 w 543801"/>
                <a:gd name="connsiteY12" fmla="*/ 312936 h 312936"/>
                <a:gd name="connsiteX13" fmla="*/ 305678 w 543801"/>
                <a:gd name="connsiteY13" fmla="*/ 312936 h 312936"/>
                <a:gd name="connsiteX14" fmla="*/ 256124 w 543801"/>
                <a:gd name="connsiteY14" fmla="*/ 191697 h 312936"/>
                <a:gd name="connsiteX15" fmla="*/ 319552 w 543801"/>
                <a:gd name="connsiteY15" fmla="*/ 178139 h 312936"/>
                <a:gd name="connsiteX16" fmla="*/ 319552 w 543801"/>
                <a:gd name="connsiteY16" fmla="*/ 312893 h 312936"/>
                <a:gd name="connsiteX17" fmla="*/ 346486 w 543801"/>
                <a:gd name="connsiteY17" fmla="*/ 312893 h 312936"/>
                <a:gd name="connsiteX18" fmla="*/ 346486 w 543801"/>
                <a:gd name="connsiteY18" fmla="*/ 312893 h 312936"/>
                <a:gd name="connsiteX19" fmla="*/ 441091 w 543801"/>
                <a:gd name="connsiteY19" fmla="*/ 312893 h 312936"/>
                <a:gd name="connsiteX20" fmla="*/ 543802 w 543801"/>
                <a:gd name="connsiteY20" fmla="*/ 221539 h 312936"/>
                <a:gd name="connsiteX21" fmla="*/ 494756 w 543801"/>
                <a:gd name="connsiteY21" fmla="*/ 146122 h 312936"/>
                <a:gd name="connsiteX22" fmla="*/ 82546 w 543801"/>
                <a:gd name="connsiteY22" fmla="*/ 241826 h 312936"/>
                <a:gd name="connsiteX23" fmla="*/ 152280 w 543801"/>
                <a:gd name="connsiteY23" fmla="*/ 61874 h 312936"/>
                <a:gd name="connsiteX24" fmla="*/ 192797 w 543801"/>
                <a:gd name="connsiteY24" fmla="*/ 169772 h 312936"/>
                <a:gd name="connsiteX25" fmla="*/ 82546 w 543801"/>
                <a:gd name="connsiteY25" fmla="*/ 241855 h 312936"/>
                <a:gd name="connsiteX26" fmla="*/ 373232 w 543801"/>
                <a:gd name="connsiteY26" fmla="*/ 49128 h 312936"/>
                <a:gd name="connsiteX27" fmla="*/ 419270 w 543801"/>
                <a:gd name="connsiteY27" fmla="*/ 49128 h 312936"/>
                <a:gd name="connsiteX28" fmla="*/ 444650 w 543801"/>
                <a:gd name="connsiteY28" fmla="*/ 52289 h 312936"/>
                <a:gd name="connsiteX29" fmla="*/ 471686 w 543801"/>
                <a:gd name="connsiteY29" fmla="*/ 92339 h 312936"/>
                <a:gd name="connsiteX30" fmla="*/ 446059 w 543801"/>
                <a:gd name="connsiteY30" fmla="*/ 130809 h 312936"/>
                <a:gd name="connsiteX31" fmla="*/ 395720 w 543801"/>
                <a:gd name="connsiteY31" fmla="*/ 126865 h 312936"/>
                <a:gd name="connsiteX32" fmla="*/ 373232 w 543801"/>
                <a:gd name="connsiteY32" fmla="*/ 127213 h 312936"/>
                <a:gd name="connsiteX33" fmla="*/ 437793 w 543801"/>
                <a:gd name="connsiteY33" fmla="*/ 263736 h 312936"/>
                <a:gd name="connsiteX34" fmla="*/ 373232 w 543801"/>
                <a:gd name="connsiteY34" fmla="*/ 263736 h 312936"/>
                <a:gd name="connsiteX35" fmla="*/ 373232 w 543801"/>
                <a:gd name="connsiteY35" fmla="*/ 173833 h 312936"/>
                <a:gd name="connsiteX36" fmla="*/ 397202 w 543801"/>
                <a:gd name="connsiteY36" fmla="*/ 173398 h 312936"/>
                <a:gd name="connsiteX37" fmla="*/ 490078 w 543801"/>
                <a:gd name="connsiteY37" fmla="*/ 221568 h 312936"/>
                <a:gd name="connsiteX38" fmla="*/ 437793 w 543801"/>
                <a:gd name="connsiteY38" fmla="*/ 263779 h 3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43801" h="312936">
                  <a:moveTo>
                    <a:pt x="494756" y="146122"/>
                  </a:moveTo>
                  <a:cubicBezTo>
                    <a:pt x="517361" y="129620"/>
                    <a:pt x="525351" y="104955"/>
                    <a:pt x="525351" y="84147"/>
                  </a:cubicBezTo>
                  <a:cubicBezTo>
                    <a:pt x="525351" y="44270"/>
                    <a:pt x="500654" y="14385"/>
                    <a:pt x="462882" y="4191"/>
                  </a:cubicBezTo>
                  <a:cubicBezTo>
                    <a:pt x="453090" y="1566"/>
                    <a:pt x="437183" y="15"/>
                    <a:pt x="418660" y="15"/>
                  </a:cubicBezTo>
                  <a:lnTo>
                    <a:pt x="319552" y="15"/>
                  </a:lnTo>
                  <a:lnTo>
                    <a:pt x="319552" y="132056"/>
                  </a:lnTo>
                  <a:cubicBezTo>
                    <a:pt x="292413" y="136165"/>
                    <a:pt x="265679" y="142603"/>
                    <a:pt x="239649" y="151299"/>
                  </a:cubicBezTo>
                  <a:lnTo>
                    <a:pt x="177732" y="0"/>
                  </a:lnTo>
                  <a:lnTo>
                    <a:pt x="127946" y="0"/>
                  </a:lnTo>
                  <a:lnTo>
                    <a:pt x="0" y="312936"/>
                  </a:lnTo>
                  <a:lnTo>
                    <a:pt x="52198" y="312936"/>
                  </a:lnTo>
                  <a:cubicBezTo>
                    <a:pt x="97321" y="265331"/>
                    <a:pt x="151175" y="231168"/>
                    <a:pt x="207252" y="208532"/>
                  </a:cubicBezTo>
                  <a:lnTo>
                    <a:pt x="246477" y="312936"/>
                  </a:lnTo>
                  <a:lnTo>
                    <a:pt x="305678" y="312936"/>
                  </a:lnTo>
                  <a:lnTo>
                    <a:pt x="256124" y="191697"/>
                  </a:lnTo>
                  <a:cubicBezTo>
                    <a:pt x="276944" y="185787"/>
                    <a:pt x="298133" y="181258"/>
                    <a:pt x="319552" y="178139"/>
                  </a:cubicBezTo>
                  <a:lnTo>
                    <a:pt x="319552" y="312893"/>
                  </a:lnTo>
                  <a:lnTo>
                    <a:pt x="346486" y="312893"/>
                  </a:lnTo>
                  <a:lnTo>
                    <a:pt x="346486" y="312893"/>
                  </a:lnTo>
                  <a:lnTo>
                    <a:pt x="441091" y="312893"/>
                  </a:lnTo>
                  <a:cubicBezTo>
                    <a:pt x="507918" y="312893"/>
                    <a:pt x="543802" y="273741"/>
                    <a:pt x="543802" y="221539"/>
                  </a:cubicBezTo>
                  <a:cubicBezTo>
                    <a:pt x="543802" y="190015"/>
                    <a:pt x="528097" y="163117"/>
                    <a:pt x="494756" y="146122"/>
                  </a:cubicBezTo>
                  <a:close/>
                  <a:moveTo>
                    <a:pt x="82546" y="241826"/>
                  </a:moveTo>
                  <a:lnTo>
                    <a:pt x="152280" y="61874"/>
                  </a:lnTo>
                  <a:lnTo>
                    <a:pt x="192797" y="169772"/>
                  </a:lnTo>
                  <a:cubicBezTo>
                    <a:pt x="150798" y="188986"/>
                    <a:pt x="113432" y="213608"/>
                    <a:pt x="82546" y="241855"/>
                  </a:cubicBezTo>
                  <a:close/>
                  <a:moveTo>
                    <a:pt x="373232" y="49128"/>
                  </a:moveTo>
                  <a:lnTo>
                    <a:pt x="419270" y="49128"/>
                  </a:lnTo>
                  <a:cubicBezTo>
                    <a:pt x="429788" y="49128"/>
                    <a:pt x="438606" y="50317"/>
                    <a:pt x="444650" y="52289"/>
                  </a:cubicBezTo>
                  <a:cubicBezTo>
                    <a:pt x="462083" y="57988"/>
                    <a:pt x="471686" y="71140"/>
                    <a:pt x="471686" y="92339"/>
                  </a:cubicBezTo>
                  <a:cubicBezTo>
                    <a:pt x="471686" y="111973"/>
                    <a:pt x="461778" y="124879"/>
                    <a:pt x="446059" y="130809"/>
                  </a:cubicBezTo>
                  <a:cubicBezTo>
                    <a:pt x="429419" y="128095"/>
                    <a:pt x="412581" y="126776"/>
                    <a:pt x="395720" y="126865"/>
                  </a:cubicBezTo>
                  <a:cubicBezTo>
                    <a:pt x="388718" y="126865"/>
                    <a:pt x="381018" y="126967"/>
                    <a:pt x="373232" y="127213"/>
                  </a:cubicBezTo>
                  <a:close/>
                  <a:moveTo>
                    <a:pt x="437793" y="263736"/>
                  </a:moveTo>
                  <a:lnTo>
                    <a:pt x="373232" y="263736"/>
                  </a:lnTo>
                  <a:lnTo>
                    <a:pt x="373232" y="173833"/>
                  </a:lnTo>
                  <a:cubicBezTo>
                    <a:pt x="381411" y="173485"/>
                    <a:pt x="389445" y="173311"/>
                    <a:pt x="397202" y="173398"/>
                  </a:cubicBezTo>
                  <a:cubicBezTo>
                    <a:pt x="455923" y="174152"/>
                    <a:pt x="490078" y="191219"/>
                    <a:pt x="490078" y="221568"/>
                  </a:cubicBezTo>
                  <a:cubicBezTo>
                    <a:pt x="490078" y="248887"/>
                    <a:pt x="465613" y="263779"/>
                    <a:pt x="437793" y="263779"/>
                  </a:cubicBezTo>
                  <a:close/>
                </a:path>
              </a:pathLst>
            </a:custGeom>
            <a:solidFill>
              <a:srgbClr val="010101"/>
            </a:solidFill>
            <a:ln w="1452" cap="flat">
              <a:noFill/>
              <a:prstDash val="solid"/>
              <a:miter/>
            </a:ln>
          </p:spPr>
          <p:txBody>
            <a:bodyPr rtlCol="0" anchor="ctr"/>
            <a:lstStyle/>
            <a:p>
              <a:endParaRPr lang="en-US"/>
            </a:p>
          </p:txBody>
        </p:sp>
      </p:grpSp>
      <p:sp>
        <p:nvSpPr>
          <p:cNvPr id="3" name="Text Placeholder 2">
            <a:extLst>
              <a:ext uri="{FF2B5EF4-FFF2-40B4-BE49-F238E27FC236}">
                <a16:creationId xmlns:a16="http://schemas.microsoft.com/office/drawing/2014/main" id="{63E281CD-A54D-3442-B2F6-DCC90535935E}"/>
              </a:ext>
            </a:extLst>
          </p:cNvPr>
          <p:cNvSpPr>
            <a:spLocks noGrp="1"/>
          </p:cNvSpPr>
          <p:nvPr>
            <p:ph type="body" sz="quarter" idx="11" hasCustomPrompt="1"/>
          </p:nvPr>
        </p:nvSpPr>
        <p:spPr>
          <a:xfrm>
            <a:off x="457199" y="5807699"/>
            <a:ext cx="3045759" cy="184944"/>
          </a:xfrm>
        </p:spPr>
        <p:txBody>
          <a:bodyPr rIns="0" anchor="b"/>
          <a:lstStyle>
            <a:lvl1pPr algn="l">
              <a:defRPr lang="en-US" sz="1200" b="1" kern="1200" baseline="0" dirty="0" smtClean="0">
                <a:solidFill>
                  <a:schemeClr val="tx1"/>
                </a:solidFill>
                <a:latin typeface="Arial" panose="020B0604020202020204" pitchFamily="34" charset="0"/>
                <a:ea typeface="+mn-ea"/>
                <a:cs typeface="Arial" panose="020B0604020202020204" pitchFamily="34" charset="0"/>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Subtitle Goes Here</a:t>
            </a:r>
          </a:p>
        </p:txBody>
      </p:sp>
      <p:sp>
        <p:nvSpPr>
          <p:cNvPr id="13" name="Text Placeholder 2">
            <a:extLst>
              <a:ext uri="{FF2B5EF4-FFF2-40B4-BE49-F238E27FC236}">
                <a16:creationId xmlns:a16="http://schemas.microsoft.com/office/drawing/2014/main" id="{F444DE9C-F571-BB4C-9C1C-7332F4140BF6}"/>
              </a:ext>
            </a:extLst>
          </p:cNvPr>
          <p:cNvSpPr>
            <a:spLocks noGrp="1"/>
          </p:cNvSpPr>
          <p:nvPr>
            <p:ph type="body" sz="quarter" idx="12" hasCustomPrompt="1"/>
          </p:nvPr>
        </p:nvSpPr>
        <p:spPr>
          <a:xfrm>
            <a:off x="457200" y="5985930"/>
            <a:ext cx="3045758" cy="184944"/>
          </a:xfrm>
        </p:spPr>
        <p:txBody>
          <a:bodyPr rIns="0" anchor="b"/>
          <a:lstStyle>
            <a:lvl1pPr algn="l">
              <a:defRPr lang="en-US" sz="1200" b="0" kern="1200" baseline="0" dirty="0">
                <a:solidFill>
                  <a:schemeClr val="tx1"/>
                </a:solidFill>
                <a:latin typeface="+mn-lt"/>
                <a:ea typeface="+mn-ea"/>
                <a:cs typeface="+mn-cs"/>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00.00.0000</a:t>
            </a:r>
          </a:p>
        </p:txBody>
      </p:sp>
      <p:sp>
        <p:nvSpPr>
          <p:cNvPr id="4" name="Text Placeholder 3">
            <a:extLst>
              <a:ext uri="{FF2B5EF4-FFF2-40B4-BE49-F238E27FC236}">
                <a16:creationId xmlns:a16="http://schemas.microsoft.com/office/drawing/2014/main" id="{4C1B3CE5-5669-E845-98B1-856DE736BC17}"/>
              </a:ext>
            </a:extLst>
          </p:cNvPr>
          <p:cNvSpPr>
            <a:spLocks noGrp="1"/>
          </p:cNvSpPr>
          <p:nvPr>
            <p:ph type="body" sz="quarter" idx="10" hasCustomPrompt="1"/>
          </p:nvPr>
        </p:nvSpPr>
        <p:spPr>
          <a:xfrm>
            <a:off x="457200" y="2353235"/>
            <a:ext cx="6204930" cy="2097587"/>
          </a:xfrm>
        </p:spPr>
        <p:txBody>
          <a:bodyPr rIns="0" anchor="ctr"/>
          <a:lstStyle>
            <a:lvl1pPr algn="l">
              <a:lnSpc>
                <a:spcPct val="80000"/>
              </a:lnSpc>
              <a:defRPr kumimoji="0" lang="en-US" sz="5600" b="1" i="0" u="none" strike="noStrike" kern="1200" cap="none" spc="0" normalizeH="0" baseline="0" dirty="0">
                <a:ln>
                  <a:noFill/>
                </a:ln>
                <a:solidFill>
                  <a:schemeClr val="tx1"/>
                </a:solidFill>
                <a:effectLst/>
                <a:uLnTx/>
                <a:uFillTx/>
                <a:latin typeface="Arial" panose="020B0604020202020204"/>
                <a:ea typeface="+mj-ea"/>
                <a:cs typeface="Arial" panose="020B0604020202020204" pitchFamily="34" charset="0"/>
              </a:defRPr>
            </a:lvl1pPr>
          </a:lstStyle>
          <a:p>
            <a:pPr lvl="0"/>
            <a:r>
              <a:rPr lang="en-US"/>
              <a:t>Two or Three-Line Presentation Title Goes Here</a:t>
            </a:r>
          </a:p>
        </p:txBody>
      </p:sp>
    </p:spTree>
    <p:extLst>
      <p:ext uri="{BB962C8B-B14F-4D97-AF65-F5344CB8AC3E}">
        <p14:creationId xmlns:p14="http://schemas.microsoft.com/office/powerpoint/2010/main" val="1488333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Photo 3">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28A0B3B-4291-2F49-917C-2DB82385FB5B}"/>
              </a:ext>
            </a:extLst>
          </p:cNvPr>
          <p:cNvSpPr>
            <a:spLocks noGrp="1"/>
          </p:cNvSpPr>
          <p:nvPr>
            <p:ph type="pic" sz="quarter" idx="13"/>
          </p:nvPr>
        </p:nvSpPr>
        <p:spPr>
          <a:xfrm>
            <a:off x="6096000" y="0"/>
            <a:ext cx="5780088" cy="6858000"/>
          </a:xfrm>
          <a:pattFill prst="pct25">
            <a:fgClr>
              <a:schemeClr val="tx1"/>
            </a:fgClr>
            <a:bgClr>
              <a:schemeClr val="bg1"/>
            </a:bgClr>
          </a:pattFill>
        </p:spPr>
        <p:txBody>
          <a:bodyPr/>
          <a:lstStyle>
            <a:lvl1pPr algn="ctr">
              <a:spcAft>
                <a:spcPts val="0"/>
              </a:spcAft>
              <a:defRPr sz="1200"/>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 Insert background image here</a:t>
            </a:r>
          </a:p>
        </p:txBody>
      </p:sp>
      <p:sp>
        <p:nvSpPr>
          <p:cNvPr id="3" name="Text Placeholder 2">
            <a:extLst>
              <a:ext uri="{FF2B5EF4-FFF2-40B4-BE49-F238E27FC236}">
                <a16:creationId xmlns:a16="http://schemas.microsoft.com/office/drawing/2014/main" id="{63E281CD-A54D-3442-B2F6-DCC90535935E}"/>
              </a:ext>
            </a:extLst>
          </p:cNvPr>
          <p:cNvSpPr>
            <a:spLocks noGrp="1"/>
          </p:cNvSpPr>
          <p:nvPr>
            <p:ph type="body" sz="quarter" idx="11" hasCustomPrompt="1"/>
          </p:nvPr>
        </p:nvSpPr>
        <p:spPr>
          <a:xfrm>
            <a:off x="457200" y="483251"/>
            <a:ext cx="4839789" cy="184944"/>
          </a:xfrm>
        </p:spPr>
        <p:txBody>
          <a:bodyPr rIns="0" anchor="b"/>
          <a:lstStyle>
            <a:lvl1pPr algn="l">
              <a:defRPr lang="en-US" sz="1200" b="1" kern="1200" baseline="0" dirty="0" smtClean="0">
                <a:solidFill>
                  <a:schemeClr val="tx1"/>
                </a:solidFill>
                <a:latin typeface="Arial" panose="020B0604020202020204" pitchFamily="34" charset="0"/>
                <a:ea typeface="+mn-ea"/>
                <a:cs typeface="Arial" panose="020B0604020202020204" pitchFamily="34" charset="0"/>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Subtitle Goes Here</a:t>
            </a:r>
          </a:p>
        </p:txBody>
      </p:sp>
      <p:sp>
        <p:nvSpPr>
          <p:cNvPr id="13" name="Text Placeholder 2">
            <a:extLst>
              <a:ext uri="{FF2B5EF4-FFF2-40B4-BE49-F238E27FC236}">
                <a16:creationId xmlns:a16="http://schemas.microsoft.com/office/drawing/2014/main" id="{F444DE9C-F571-BB4C-9C1C-7332F4140BF6}"/>
              </a:ext>
            </a:extLst>
          </p:cNvPr>
          <p:cNvSpPr>
            <a:spLocks noGrp="1"/>
          </p:cNvSpPr>
          <p:nvPr>
            <p:ph type="body" sz="quarter" idx="12" hasCustomPrompt="1"/>
          </p:nvPr>
        </p:nvSpPr>
        <p:spPr>
          <a:xfrm>
            <a:off x="457201" y="661482"/>
            <a:ext cx="4839787" cy="184944"/>
          </a:xfrm>
        </p:spPr>
        <p:txBody>
          <a:bodyPr rIns="0" anchor="b"/>
          <a:lstStyle>
            <a:lvl1pPr algn="l">
              <a:defRPr lang="en-US" sz="1200" b="0" kern="1200" baseline="0" dirty="0">
                <a:solidFill>
                  <a:schemeClr val="tx1"/>
                </a:solidFill>
                <a:latin typeface="+mn-lt"/>
                <a:ea typeface="+mn-ea"/>
                <a:cs typeface="+mn-cs"/>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00.00.0000</a:t>
            </a:r>
          </a:p>
        </p:txBody>
      </p:sp>
      <p:sp>
        <p:nvSpPr>
          <p:cNvPr id="4" name="Text Placeholder 3">
            <a:extLst>
              <a:ext uri="{FF2B5EF4-FFF2-40B4-BE49-F238E27FC236}">
                <a16:creationId xmlns:a16="http://schemas.microsoft.com/office/drawing/2014/main" id="{4C1B3CE5-5669-E845-98B1-856DE736BC17}"/>
              </a:ext>
            </a:extLst>
          </p:cNvPr>
          <p:cNvSpPr>
            <a:spLocks noGrp="1"/>
          </p:cNvSpPr>
          <p:nvPr>
            <p:ph type="body" sz="quarter" idx="10" hasCustomPrompt="1"/>
          </p:nvPr>
        </p:nvSpPr>
        <p:spPr>
          <a:xfrm>
            <a:off x="457200" y="2007097"/>
            <a:ext cx="4839789" cy="2928460"/>
          </a:xfrm>
        </p:spPr>
        <p:txBody>
          <a:bodyPr rIns="0" anchor="ctr"/>
          <a:lstStyle>
            <a:lvl1pPr algn="l">
              <a:lnSpc>
                <a:spcPct val="80000"/>
              </a:lnSpc>
              <a:defRPr kumimoji="0" lang="en-US" sz="4600" b="1" i="0" u="none" strike="noStrike" kern="1200" cap="none" spc="0" normalizeH="0" baseline="0" dirty="0">
                <a:ln>
                  <a:noFill/>
                </a:ln>
                <a:solidFill>
                  <a:schemeClr val="tx1"/>
                </a:solidFill>
                <a:effectLst/>
                <a:uLnTx/>
                <a:uFillTx/>
                <a:latin typeface="Arial" panose="020B0604020202020204"/>
                <a:ea typeface="+mj-ea"/>
                <a:cs typeface="Arial" panose="020B0604020202020204" pitchFamily="34" charset="0"/>
              </a:defRPr>
            </a:lvl1pPr>
          </a:lstStyle>
          <a:p>
            <a:pPr lvl="0"/>
            <a:r>
              <a:rPr lang="en-US"/>
              <a:t>Two, Three or Four Line Presentation Title Goes Here</a:t>
            </a:r>
          </a:p>
        </p:txBody>
      </p:sp>
      <p:sp>
        <p:nvSpPr>
          <p:cNvPr id="9" name="Rectangle 8">
            <a:extLst>
              <a:ext uri="{FF2B5EF4-FFF2-40B4-BE49-F238E27FC236}">
                <a16:creationId xmlns:a16="http://schemas.microsoft.com/office/drawing/2014/main" id="{A4A2C2CD-6330-6549-A9FF-37BCE4B008ED}"/>
              </a:ext>
            </a:extLst>
          </p:cNvPr>
          <p:cNvSpPr/>
          <p:nvPr userDrawn="1"/>
        </p:nvSpPr>
        <p:spPr>
          <a:xfrm rot="10800000">
            <a:off x="11876088" y="-3"/>
            <a:ext cx="315912" cy="6858002"/>
          </a:xfrm>
          <a:prstGeom prst="rect">
            <a:avLst/>
          </a:prstGeom>
          <a:gradFill>
            <a:gsLst>
              <a:gs pos="0">
                <a:srgbClr val="D1A33C"/>
              </a:gs>
              <a:gs pos="100000">
                <a:srgbClr val="F2D71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extLst>
              <a:ext uri="{FF2B5EF4-FFF2-40B4-BE49-F238E27FC236}">
                <a16:creationId xmlns:a16="http://schemas.microsoft.com/office/drawing/2014/main" id="{E479ED27-A5B5-F647-AA74-CF4D4F90244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043161"/>
            <a:ext cx="1639228" cy="302169"/>
          </a:xfrm>
          <a:prstGeom prst="rect">
            <a:avLst/>
          </a:prstGeom>
        </p:spPr>
      </p:pic>
    </p:spTree>
    <p:extLst>
      <p:ext uri="{BB962C8B-B14F-4D97-AF65-F5344CB8AC3E}">
        <p14:creationId xmlns:p14="http://schemas.microsoft.com/office/powerpoint/2010/main" val="40380913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Photo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E96571-D3DE-D14E-B84F-2B505EEB25D7}"/>
              </a:ext>
            </a:extLst>
          </p:cNvPr>
          <p:cNvSpPr/>
          <p:nvPr userDrawn="1"/>
        </p:nvSpPr>
        <p:spPr>
          <a:xfrm>
            <a:off x="0" y="-3"/>
            <a:ext cx="6096000" cy="68580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phic 31">
            <a:extLst>
              <a:ext uri="{FF2B5EF4-FFF2-40B4-BE49-F238E27FC236}">
                <a16:creationId xmlns:a16="http://schemas.microsoft.com/office/drawing/2014/main" id="{BF8D6E0E-53DB-6647-981D-D05C84398F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042624"/>
            <a:ext cx="1639229" cy="302169"/>
          </a:xfrm>
          <a:prstGeom prst="rect">
            <a:avLst/>
          </a:prstGeom>
        </p:spPr>
      </p:pic>
      <p:sp>
        <p:nvSpPr>
          <p:cNvPr id="5" name="Picture Placeholder 4">
            <a:extLst>
              <a:ext uri="{FF2B5EF4-FFF2-40B4-BE49-F238E27FC236}">
                <a16:creationId xmlns:a16="http://schemas.microsoft.com/office/drawing/2014/main" id="{B28A0B3B-4291-2F49-917C-2DB82385FB5B}"/>
              </a:ext>
            </a:extLst>
          </p:cNvPr>
          <p:cNvSpPr>
            <a:spLocks noGrp="1"/>
          </p:cNvSpPr>
          <p:nvPr>
            <p:ph type="pic" sz="quarter" idx="13" hasCustomPrompt="1"/>
          </p:nvPr>
        </p:nvSpPr>
        <p:spPr>
          <a:xfrm>
            <a:off x="6096000" y="0"/>
            <a:ext cx="5780088" cy="6858000"/>
          </a:xfrm>
          <a:pattFill prst="pct25">
            <a:fgClr>
              <a:schemeClr val="tx1"/>
            </a:fgClr>
            <a:bgClr>
              <a:schemeClr val="bg1"/>
            </a:bgClr>
          </a:pattFill>
        </p:spPr>
        <p:txBody>
          <a:bodyPr/>
          <a:lstStyle>
            <a:lvl1pPr algn="ctr">
              <a:spcAft>
                <a:spcPts val="0"/>
              </a:spcAft>
              <a:defRPr sz="1200"/>
            </a:lvl1pPr>
          </a:lstStyle>
          <a:p>
            <a:r>
              <a:rPr lang="en-US"/>
              <a:t> </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Insert background image here</a:t>
            </a:r>
          </a:p>
        </p:txBody>
      </p:sp>
      <p:sp>
        <p:nvSpPr>
          <p:cNvPr id="3" name="Text Placeholder 2">
            <a:extLst>
              <a:ext uri="{FF2B5EF4-FFF2-40B4-BE49-F238E27FC236}">
                <a16:creationId xmlns:a16="http://schemas.microsoft.com/office/drawing/2014/main" id="{63E281CD-A54D-3442-B2F6-DCC90535935E}"/>
              </a:ext>
            </a:extLst>
          </p:cNvPr>
          <p:cNvSpPr>
            <a:spLocks noGrp="1"/>
          </p:cNvSpPr>
          <p:nvPr>
            <p:ph type="body" sz="quarter" idx="11" hasCustomPrompt="1"/>
          </p:nvPr>
        </p:nvSpPr>
        <p:spPr>
          <a:xfrm>
            <a:off x="457200" y="483251"/>
            <a:ext cx="4839789" cy="184944"/>
          </a:xfrm>
        </p:spPr>
        <p:txBody>
          <a:bodyPr rIns="0" anchor="b"/>
          <a:lstStyle>
            <a:lvl1pPr algn="l">
              <a:defRPr lang="en-US" sz="1200" b="1" kern="1200" baseline="0" dirty="0" smtClean="0">
                <a:solidFill>
                  <a:schemeClr val="accent2"/>
                </a:solidFill>
                <a:latin typeface="Arial" panose="020B0604020202020204" pitchFamily="34" charset="0"/>
                <a:ea typeface="+mn-ea"/>
                <a:cs typeface="Arial" panose="020B0604020202020204" pitchFamily="34" charset="0"/>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Subtitle Goes Here</a:t>
            </a:r>
          </a:p>
        </p:txBody>
      </p:sp>
      <p:sp>
        <p:nvSpPr>
          <p:cNvPr id="13" name="Text Placeholder 2">
            <a:extLst>
              <a:ext uri="{FF2B5EF4-FFF2-40B4-BE49-F238E27FC236}">
                <a16:creationId xmlns:a16="http://schemas.microsoft.com/office/drawing/2014/main" id="{F444DE9C-F571-BB4C-9C1C-7332F4140BF6}"/>
              </a:ext>
            </a:extLst>
          </p:cNvPr>
          <p:cNvSpPr>
            <a:spLocks noGrp="1"/>
          </p:cNvSpPr>
          <p:nvPr>
            <p:ph type="body" sz="quarter" idx="12" hasCustomPrompt="1"/>
          </p:nvPr>
        </p:nvSpPr>
        <p:spPr>
          <a:xfrm>
            <a:off x="457201" y="661482"/>
            <a:ext cx="4839787" cy="184944"/>
          </a:xfrm>
        </p:spPr>
        <p:txBody>
          <a:bodyPr rIns="0" anchor="b"/>
          <a:lstStyle>
            <a:lvl1pPr algn="l">
              <a:defRPr lang="en-US" sz="1200" b="0" kern="1200" baseline="0" dirty="0">
                <a:solidFill>
                  <a:schemeClr val="accent2"/>
                </a:solidFill>
                <a:latin typeface="+mn-lt"/>
                <a:ea typeface="+mn-ea"/>
                <a:cs typeface="+mn-cs"/>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00.00.0000</a:t>
            </a:r>
          </a:p>
        </p:txBody>
      </p:sp>
      <p:sp>
        <p:nvSpPr>
          <p:cNvPr id="4" name="Text Placeholder 3">
            <a:extLst>
              <a:ext uri="{FF2B5EF4-FFF2-40B4-BE49-F238E27FC236}">
                <a16:creationId xmlns:a16="http://schemas.microsoft.com/office/drawing/2014/main" id="{4C1B3CE5-5669-E845-98B1-856DE736BC17}"/>
              </a:ext>
            </a:extLst>
          </p:cNvPr>
          <p:cNvSpPr>
            <a:spLocks noGrp="1"/>
          </p:cNvSpPr>
          <p:nvPr>
            <p:ph type="body" sz="quarter" idx="10" hasCustomPrompt="1"/>
          </p:nvPr>
        </p:nvSpPr>
        <p:spPr>
          <a:xfrm>
            <a:off x="457200" y="2007097"/>
            <a:ext cx="4839789" cy="2928460"/>
          </a:xfrm>
        </p:spPr>
        <p:txBody>
          <a:bodyPr rIns="0" anchor="ctr"/>
          <a:lstStyle>
            <a:lvl1pPr algn="l">
              <a:lnSpc>
                <a:spcPct val="80000"/>
              </a:lnSpc>
              <a:defRPr kumimoji="0" lang="en-US" sz="4600" b="1" i="0" u="none" strike="noStrike" kern="1200" cap="none" spc="0" normalizeH="0" baseline="0" dirty="0">
                <a:ln>
                  <a:noFill/>
                </a:ln>
                <a:solidFill>
                  <a:schemeClr val="bg1"/>
                </a:solidFill>
                <a:effectLst/>
                <a:uLnTx/>
                <a:uFillTx/>
                <a:latin typeface="Arial" panose="020B0604020202020204"/>
                <a:ea typeface="+mj-ea"/>
                <a:cs typeface="Arial" panose="020B0604020202020204" pitchFamily="34" charset="0"/>
              </a:defRPr>
            </a:lvl1pPr>
          </a:lstStyle>
          <a:p>
            <a:pPr lvl="0"/>
            <a:r>
              <a:rPr lang="en-US"/>
              <a:t>Two, Three or Four Line Presentation Title Goes Here</a:t>
            </a:r>
          </a:p>
        </p:txBody>
      </p:sp>
      <p:sp>
        <p:nvSpPr>
          <p:cNvPr id="9" name="Rectangle 8">
            <a:extLst>
              <a:ext uri="{FF2B5EF4-FFF2-40B4-BE49-F238E27FC236}">
                <a16:creationId xmlns:a16="http://schemas.microsoft.com/office/drawing/2014/main" id="{A4A2C2CD-6330-6549-A9FF-37BCE4B008ED}"/>
              </a:ext>
            </a:extLst>
          </p:cNvPr>
          <p:cNvSpPr/>
          <p:nvPr userDrawn="1"/>
        </p:nvSpPr>
        <p:spPr>
          <a:xfrm rot="10800000">
            <a:off x="11876088" y="-3"/>
            <a:ext cx="315912" cy="6858002"/>
          </a:xfrm>
          <a:prstGeom prst="rect">
            <a:avLst/>
          </a:prstGeom>
          <a:gradFill>
            <a:gsLst>
              <a:gs pos="0">
                <a:srgbClr val="D1A33C"/>
              </a:gs>
              <a:gs pos="100000">
                <a:srgbClr val="F2D71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053855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hoto 5">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DB6B1BC-3A0E-C646-99E2-82D90364A245}"/>
              </a:ext>
            </a:extLst>
          </p:cNvPr>
          <p:cNvSpPr/>
          <p:nvPr userDrawn="1"/>
        </p:nvSpPr>
        <p:spPr>
          <a:xfrm>
            <a:off x="0" y="0"/>
            <a:ext cx="6096000" cy="6858000"/>
          </a:xfrm>
          <a:prstGeom prst="rect">
            <a:avLst/>
          </a:prstGeom>
          <a:gradFill>
            <a:gsLst>
              <a:gs pos="0">
                <a:srgbClr val="D1A33C"/>
              </a:gs>
              <a:gs pos="100000">
                <a:srgbClr val="F2D71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B28A0B3B-4291-2F49-917C-2DB82385FB5B}"/>
              </a:ext>
            </a:extLst>
          </p:cNvPr>
          <p:cNvSpPr>
            <a:spLocks noGrp="1"/>
          </p:cNvSpPr>
          <p:nvPr>
            <p:ph type="pic" sz="quarter" idx="13" hasCustomPrompt="1"/>
          </p:nvPr>
        </p:nvSpPr>
        <p:spPr>
          <a:xfrm>
            <a:off x="6096000" y="0"/>
            <a:ext cx="6096000" cy="6858000"/>
          </a:xfrm>
          <a:pattFill prst="pct25">
            <a:fgClr>
              <a:schemeClr val="tx1"/>
            </a:fgClr>
            <a:bgClr>
              <a:schemeClr val="bg1"/>
            </a:bgClr>
          </a:pattFill>
        </p:spPr>
        <p:txBody>
          <a:bodyPr/>
          <a:lstStyle>
            <a:lvl1pPr algn="ctr">
              <a:spcAft>
                <a:spcPts val="0"/>
              </a:spcAft>
              <a:defRPr sz="1200"/>
            </a:lvl1pPr>
          </a:lstStyle>
          <a:p>
            <a:r>
              <a:rPr lang="en-US"/>
              <a:t> </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Insert background image here</a:t>
            </a:r>
          </a:p>
        </p:txBody>
      </p:sp>
      <p:sp>
        <p:nvSpPr>
          <p:cNvPr id="3" name="Text Placeholder 2">
            <a:extLst>
              <a:ext uri="{FF2B5EF4-FFF2-40B4-BE49-F238E27FC236}">
                <a16:creationId xmlns:a16="http://schemas.microsoft.com/office/drawing/2014/main" id="{63E281CD-A54D-3442-B2F6-DCC90535935E}"/>
              </a:ext>
            </a:extLst>
          </p:cNvPr>
          <p:cNvSpPr>
            <a:spLocks noGrp="1"/>
          </p:cNvSpPr>
          <p:nvPr>
            <p:ph type="body" sz="quarter" idx="11" hasCustomPrompt="1"/>
          </p:nvPr>
        </p:nvSpPr>
        <p:spPr>
          <a:xfrm>
            <a:off x="457200" y="483251"/>
            <a:ext cx="4839789" cy="184944"/>
          </a:xfrm>
        </p:spPr>
        <p:txBody>
          <a:bodyPr rIns="0" anchor="b"/>
          <a:lstStyle>
            <a:lvl1pPr algn="l">
              <a:defRPr lang="en-US" sz="1200" b="1" kern="1200" baseline="0" dirty="0" smtClean="0">
                <a:solidFill>
                  <a:schemeClr val="tx1"/>
                </a:solidFill>
                <a:latin typeface="Arial" panose="020B0604020202020204" pitchFamily="34" charset="0"/>
                <a:ea typeface="+mn-ea"/>
                <a:cs typeface="Arial" panose="020B0604020202020204" pitchFamily="34" charset="0"/>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Subtitle Goes Here</a:t>
            </a:r>
          </a:p>
        </p:txBody>
      </p:sp>
      <p:sp>
        <p:nvSpPr>
          <p:cNvPr id="13" name="Text Placeholder 2">
            <a:extLst>
              <a:ext uri="{FF2B5EF4-FFF2-40B4-BE49-F238E27FC236}">
                <a16:creationId xmlns:a16="http://schemas.microsoft.com/office/drawing/2014/main" id="{F444DE9C-F571-BB4C-9C1C-7332F4140BF6}"/>
              </a:ext>
            </a:extLst>
          </p:cNvPr>
          <p:cNvSpPr>
            <a:spLocks noGrp="1"/>
          </p:cNvSpPr>
          <p:nvPr>
            <p:ph type="body" sz="quarter" idx="12" hasCustomPrompt="1"/>
          </p:nvPr>
        </p:nvSpPr>
        <p:spPr>
          <a:xfrm>
            <a:off x="457201" y="661482"/>
            <a:ext cx="4839787" cy="184944"/>
          </a:xfrm>
        </p:spPr>
        <p:txBody>
          <a:bodyPr rIns="0" anchor="b"/>
          <a:lstStyle>
            <a:lvl1pPr algn="l">
              <a:defRPr lang="en-US" sz="1200" b="0" kern="1200" baseline="0" dirty="0">
                <a:solidFill>
                  <a:schemeClr val="tx1"/>
                </a:solidFill>
                <a:latin typeface="+mn-lt"/>
                <a:ea typeface="+mn-ea"/>
                <a:cs typeface="+mn-cs"/>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00.00.0000</a:t>
            </a:r>
          </a:p>
        </p:txBody>
      </p:sp>
      <p:sp>
        <p:nvSpPr>
          <p:cNvPr id="4" name="Text Placeholder 3">
            <a:extLst>
              <a:ext uri="{FF2B5EF4-FFF2-40B4-BE49-F238E27FC236}">
                <a16:creationId xmlns:a16="http://schemas.microsoft.com/office/drawing/2014/main" id="{4C1B3CE5-5669-E845-98B1-856DE736BC17}"/>
              </a:ext>
            </a:extLst>
          </p:cNvPr>
          <p:cNvSpPr>
            <a:spLocks noGrp="1"/>
          </p:cNvSpPr>
          <p:nvPr>
            <p:ph type="body" sz="quarter" idx="10" hasCustomPrompt="1"/>
          </p:nvPr>
        </p:nvSpPr>
        <p:spPr>
          <a:xfrm>
            <a:off x="457200" y="2007097"/>
            <a:ext cx="4839789" cy="2928460"/>
          </a:xfrm>
        </p:spPr>
        <p:txBody>
          <a:bodyPr rIns="0" anchor="ctr"/>
          <a:lstStyle>
            <a:lvl1pPr algn="l">
              <a:lnSpc>
                <a:spcPct val="80000"/>
              </a:lnSpc>
              <a:defRPr kumimoji="0" lang="en-US" sz="4600" b="1" i="0" u="none" strike="noStrike" kern="1200" cap="none" spc="0" normalizeH="0" baseline="0" dirty="0">
                <a:ln>
                  <a:noFill/>
                </a:ln>
                <a:solidFill>
                  <a:schemeClr val="tx1"/>
                </a:solidFill>
                <a:effectLst/>
                <a:uLnTx/>
                <a:uFillTx/>
                <a:latin typeface="Arial" panose="020B0604020202020204"/>
                <a:ea typeface="+mj-ea"/>
                <a:cs typeface="Arial" panose="020B0604020202020204" pitchFamily="34" charset="0"/>
              </a:defRPr>
            </a:lvl1pPr>
          </a:lstStyle>
          <a:p>
            <a:pPr lvl="0"/>
            <a:r>
              <a:rPr lang="en-US"/>
              <a:t>Two, Three or Four Line Presentation Title Goes Here</a:t>
            </a:r>
          </a:p>
        </p:txBody>
      </p:sp>
      <p:pic>
        <p:nvPicPr>
          <p:cNvPr id="25" name="Graphic 24">
            <a:extLst>
              <a:ext uri="{FF2B5EF4-FFF2-40B4-BE49-F238E27FC236}">
                <a16:creationId xmlns:a16="http://schemas.microsoft.com/office/drawing/2014/main" id="{47FF1D16-8B15-A343-A1B3-5F96861FDD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043161"/>
            <a:ext cx="1639228" cy="302169"/>
          </a:xfrm>
          <a:prstGeom prst="rect">
            <a:avLst/>
          </a:prstGeom>
        </p:spPr>
      </p:pic>
    </p:spTree>
    <p:extLst>
      <p:ext uri="{BB962C8B-B14F-4D97-AF65-F5344CB8AC3E}">
        <p14:creationId xmlns:p14="http://schemas.microsoft.com/office/powerpoint/2010/main" val="9764743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18B2CFF-0EEB-2843-B801-7C11E7AEE393}"/>
              </a:ext>
            </a:extLst>
          </p:cNvPr>
          <p:cNvSpPr/>
          <p:nvPr userDrawn="1"/>
        </p:nvSpPr>
        <p:spPr>
          <a:xfrm>
            <a:off x="0" y="-3"/>
            <a:ext cx="6096000" cy="68580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80EEAE60-2A28-804C-8D32-7186AC9A4602}"/>
              </a:ext>
            </a:extLst>
          </p:cNvPr>
          <p:cNvSpPr>
            <a:spLocks noGrp="1"/>
          </p:cNvSpPr>
          <p:nvPr>
            <p:ph type="body" sz="quarter" idx="14" hasCustomPrompt="1"/>
          </p:nvPr>
        </p:nvSpPr>
        <p:spPr>
          <a:xfrm>
            <a:off x="1367071" y="2057399"/>
            <a:ext cx="4332690" cy="3460806"/>
          </a:xfrm>
        </p:spPr>
        <p:txBody>
          <a:bodyPr anchor="t"/>
          <a:lstStyle>
            <a:lvl1pPr>
              <a:lnSpc>
                <a:spcPct val="100000"/>
              </a:lnSpc>
              <a:spcBef>
                <a:spcPts val="0"/>
              </a:spcBef>
              <a:spcAft>
                <a:spcPts val="1600"/>
              </a:spcAft>
              <a:defRPr lang="en-US" sz="2400" b="0" kern="1200" dirty="0">
                <a:solidFill>
                  <a:schemeClr val="bg1"/>
                </a:solidFill>
                <a:latin typeface="Arial" panose="020B0604020202020204" pitchFamily="34" charset="0"/>
                <a:ea typeface="+mn-ea"/>
                <a:cs typeface="Arial" panose="020B0604020202020204" pitchFamily="34" charset="0"/>
              </a:defRPr>
            </a:lvl1pPr>
          </a:lstStyle>
          <a:p>
            <a:pPr lvl="0"/>
            <a:r>
              <a:rPr lang="en-US"/>
              <a:t>Title Goes Here</a:t>
            </a:r>
          </a:p>
          <a:p>
            <a:pPr lvl="0"/>
            <a:r>
              <a:rPr lang="en-US"/>
              <a:t>Title Goes Here</a:t>
            </a:r>
          </a:p>
          <a:p>
            <a:pPr lvl="0"/>
            <a:r>
              <a:rPr lang="en-US"/>
              <a:t>Title Goes Here</a:t>
            </a:r>
          </a:p>
          <a:p>
            <a:pPr lvl="0"/>
            <a:r>
              <a:rPr lang="en-US"/>
              <a:t>Title Goes Here</a:t>
            </a:r>
          </a:p>
          <a:p>
            <a:pPr lvl="0"/>
            <a:r>
              <a:rPr lang="en-US"/>
              <a:t>Title Goes Here</a:t>
            </a:r>
          </a:p>
        </p:txBody>
      </p:sp>
      <p:sp>
        <p:nvSpPr>
          <p:cNvPr id="9" name="Picture Placeholder 8">
            <a:extLst>
              <a:ext uri="{FF2B5EF4-FFF2-40B4-BE49-F238E27FC236}">
                <a16:creationId xmlns:a16="http://schemas.microsoft.com/office/drawing/2014/main" id="{6294ED1A-B0A2-174E-B0E8-4CD8E4B0725A}"/>
              </a:ext>
            </a:extLst>
          </p:cNvPr>
          <p:cNvSpPr>
            <a:spLocks noGrp="1"/>
          </p:cNvSpPr>
          <p:nvPr>
            <p:ph type="pic" sz="quarter" idx="12" hasCustomPrompt="1"/>
          </p:nvPr>
        </p:nvSpPr>
        <p:spPr>
          <a:xfrm>
            <a:off x="6096000" y="0"/>
            <a:ext cx="6096000" cy="6858000"/>
          </a:xfrm>
          <a:pattFill prst="pct25">
            <a:fgClr>
              <a:schemeClr val="tx1"/>
            </a:fgClr>
            <a:bgClr>
              <a:schemeClr val="bg1"/>
            </a:bgClr>
          </a:pattFill>
        </p:spPr>
        <p:txBody>
          <a:bodyPr/>
          <a:lstStyle>
            <a:lvl1pPr algn="ctr">
              <a:spcAft>
                <a:spcPts val="0"/>
              </a:spcAft>
              <a:defRPr sz="1200"/>
            </a:lvl1pPr>
          </a:lstStyle>
          <a:p>
            <a:r>
              <a:rPr lang="en-US"/>
              <a:t> </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Insert background image here</a:t>
            </a:r>
          </a:p>
        </p:txBody>
      </p:sp>
      <p:sp>
        <p:nvSpPr>
          <p:cNvPr id="2" name="Title 1">
            <a:extLst>
              <a:ext uri="{FF2B5EF4-FFF2-40B4-BE49-F238E27FC236}">
                <a16:creationId xmlns:a16="http://schemas.microsoft.com/office/drawing/2014/main" id="{D93E9574-B856-4A46-BBCE-6115DF4E3884}"/>
              </a:ext>
            </a:extLst>
          </p:cNvPr>
          <p:cNvSpPr>
            <a:spLocks noGrp="1"/>
          </p:cNvSpPr>
          <p:nvPr>
            <p:ph type="title" hasCustomPrompt="1"/>
          </p:nvPr>
        </p:nvSpPr>
        <p:spPr>
          <a:xfrm>
            <a:off x="315913" y="681039"/>
            <a:ext cx="5383847" cy="801442"/>
          </a:xfrm>
        </p:spPr>
        <p:txBody>
          <a:bodyPr/>
          <a:lstStyle>
            <a:lvl1pPr>
              <a:defRPr>
                <a:solidFill>
                  <a:schemeClr val="bg1"/>
                </a:solidFill>
              </a:defRPr>
            </a:lvl1pPr>
          </a:lstStyle>
          <a:p>
            <a:r>
              <a:rPr lang="en-US"/>
              <a:t>Agenda</a:t>
            </a:r>
          </a:p>
        </p:txBody>
      </p:sp>
      <p:sp>
        <p:nvSpPr>
          <p:cNvPr id="4" name="Slide Number Placeholder 3">
            <a:extLst>
              <a:ext uri="{FF2B5EF4-FFF2-40B4-BE49-F238E27FC236}">
                <a16:creationId xmlns:a16="http://schemas.microsoft.com/office/drawing/2014/main" id="{E9470FB9-B8B7-F541-9131-8DD48B015BFA}"/>
              </a:ext>
            </a:extLst>
          </p:cNvPr>
          <p:cNvSpPr>
            <a:spLocks noGrp="1"/>
          </p:cNvSpPr>
          <p:nvPr>
            <p:ph type="sldNum" sz="quarter" idx="11"/>
          </p:nvPr>
        </p:nvSpPr>
        <p:spPr/>
        <p:txBody>
          <a:bodyPr/>
          <a:lstStyle>
            <a:lvl1pPr>
              <a:defRPr>
                <a:solidFill>
                  <a:schemeClr val="bg1"/>
                </a:solidFill>
              </a:defRPr>
            </a:lvl1pPr>
          </a:lstStyle>
          <a:p>
            <a:fld id="{99E61589-955B-3549-AD19-CD847E0672FB}" type="slidenum">
              <a:rPr lang="en-US" smtClean="0"/>
              <a:pPr/>
              <a:t>‹#›</a:t>
            </a:fld>
            <a:endParaRPr lang="en-US"/>
          </a:p>
        </p:txBody>
      </p:sp>
      <p:sp>
        <p:nvSpPr>
          <p:cNvPr id="5" name="Rectangle 4">
            <a:extLst>
              <a:ext uri="{FF2B5EF4-FFF2-40B4-BE49-F238E27FC236}">
                <a16:creationId xmlns:a16="http://schemas.microsoft.com/office/drawing/2014/main" id="{60244C67-B645-6349-B9FD-C2276C6FD22B}"/>
              </a:ext>
            </a:extLst>
          </p:cNvPr>
          <p:cNvSpPr/>
          <p:nvPr userDrawn="1"/>
        </p:nvSpPr>
        <p:spPr>
          <a:xfrm>
            <a:off x="315913" y="323850"/>
            <a:ext cx="5383847"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7">
            <a:extLst>
              <a:ext uri="{FF2B5EF4-FFF2-40B4-BE49-F238E27FC236}">
                <a16:creationId xmlns:a16="http://schemas.microsoft.com/office/drawing/2014/main" id="{DA92B5F5-D500-5749-A34F-D633631DBC71}"/>
              </a:ext>
            </a:extLst>
          </p:cNvPr>
          <p:cNvSpPr>
            <a:spLocks noGrp="1"/>
          </p:cNvSpPr>
          <p:nvPr>
            <p:ph type="body" sz="quarter" idx="13" hasCustomPrompt="1"/>
          </p:nvPr>
        </p:nvSpPr>
        <p:spPr>
          <a:xfrm>
            <a:off x="453273" y="2057399"/>
            <a:ext cx="444622" cy="3460806"/>
          </a:xfrm>
        </p:spPr>
        <p:txBody>
          <a:bodyPr anchor="t"/>
          <a:lstStyle>
            <a:lvl1pPr>
              <a:lnSpc>
                <a:spcPct val="100000"/>
              </a:lnSpc>
              <a:spcBef>
                <a:spcPts val="0"/>
              </a:spcBef>
              <a:spcAft>
                <a:spcPts val="1600"/>
              </a:spcAft>
              <a:defRPr sz="2400" b="1">
                <a:solidFill>
                  <a:schemeClr val="accent2"/>
                </a:solidFill>
                <a:latin typeface="+mj-lt"/>
              </a:defRPr>
            </a:lvl1pPr>
          </a:lstStyle>
          <a:p>
            <a:pPr lvl="0"/>
            <a:r>
              <a:rPr lang="en-US"/>
              <a:t>01 </a:t>
            </a:r>
          </a:p>
          <a:p>
            <a:pPr lvl="0"/>
            <a:r>
              <a:rPr lang="en-US"/>
              <a:t>02</a:t>
            </a:r>
          </a:p>
          <a:p>
            <a:pPr lvl="0"/>
            <a:r>
              <a:rPr lang="en-US"/>
              <a:t>03</a:t>
            </a:r>
          </a:p>
          <a:p>
            <a:pPr lvl="0"/>
            <a:r>
              <a:rPr lang="en-US"/>
              <a:t>04</a:t>
            </a:r>
          </a:p>
          <a:p>
            <a:pPr lvl="0"/>
            <a:r>
              <a:rPr lang="en-US"/>
              <a:t>05</a:t>
            </a:r>
          </a:p>
        </p:txBody>
      </p:sp>
      <p:pic>
        <p:nvPicPr>
          <p:cNvPr id="12" name="Graphic 11">
            <a:extLst>
              <a:ext uri="{FF2B5EF4-FFF2-40B4-BE49-F238E27FC236}">
                <a16:creationId xmlns:a16="http://schemas.microsoft.com/office/drawing/2014/main" id="{B0016ECA-0AC7-40C0-B6F3-73C9228CCE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3273" y="6254845"/>
            <a:ext cx="1342074" cy="247392"/>
          </a:xfrm>
          <a:prstGeom prst="rect">
            <a:avLst/>
          </a:prstGeom>
        </p:spPr>
      </p:pic>
    </p:spTree>
    <p:extLst>
      <p:ext uri="{BB962C8B-B14F-4D97-AF65-F5344CB8AC3E}">
        <p14:creationId xmlns:p14="http://schemas.microsoft.com/office/powerpoint/2010/main" val="16569031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18B2CFF-0EEB-2843-B801-7C11E7AEE393}"/>
              </a:ext>
            </a:extLst>
          </p:cNvPr>
          <p:cNvSpPr/>
          <p:nvPr userDrawn="1"/>
        </p:nvSpPr>
        <p:spPr>
          <a:xfrm>
            <a:off x="0" y="-3"/>
            <a:ext cx="12192000" cy="68580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80EEAE60-2A28-804C-8D32-7186AC9A4602}"/>
              </a:ext>
            </a:extLst>
          </p:cNvPr>
          <p:cNvSpPr>
            <a:spLocks noGrp="1"/>
          </p:cNvSpPr>
          <p:nvPr>
            <p:ph type="body" sz="quarter" idx="14" hasCustomPrompt="1"/>
          </p:nvPr>
        </p:nvSpPr>
        <p:spPr>
          <a:xfrm>
            <a:off x="1367070" y="2057399"/>
            <a:ext cx="10509017" cy="3460806"/>
          </a:xfrm>
        </p:spPr>
        <p:txBody>
          <a:bodyPr anchor="t"/>
          <a:lstStyle>
            <a:lvl1pPr>
              <a:lnSpc>
                <a:spcPct val="100000"/>
              </a:lnSpc>
              <a:spcBef>
                <a:spcPts val="0"/>
              </a:spcBef>
              <a:spcAft>
                <a:spcPts val="1600"/>
              </a:spcAft>
              <a:defRPr lang="en-US" sz="2400" b="0" kern="1200" dirty="0">
                <a:solidFill>
                  <a:schemeClr val="bg1"/>
                </a:solidFill>
                <a:latin typeface="Arial" panose="020B0604020202020204" pitchFamily="34" charset="0"/>
                <a:ea typeface="+mn-ea"/>
                <a:cs typeface="Arial" panose="020B0604020202020204" pitchFamily="34" charset="0"/>
              </a:defRPr>
            </a:lvl1pPr>
          </a:lstStyle>
          <a:p>
            <a:pPr lvl="0"/>
            <a:r>
              <a:rPr lang="en-US"/>
              <a:t>Title Goes Here</a:t>
            </a:r>
          </a:p>
          <a:p>
            <a:pPr lvl="0"/>
            <a:r>
              <a:rPr lang="en-US"/>
              <a:t>Title Goes Here</a:t>
            </a:r>
          </a:p>
          <a:p>
            <a:pPr lvl="0"/>
            <a:r>
              <a:rPr lang="en-US"/>
              <a:t>Title Goes Here</a:t>
            </a:r>
          </a:p>
          <a:p>
            <a:pPr lvl="0"/>
            <a:r>
              <a:rPr lang="en-US"/>
              <a:t>Title Goes Here</a:t>
            </a:r>
          </a:p>
          <a:p>
            <a:pPr lvl="0"/>
            <a:r>
              <a:rPr lang="en-US"/>
              <a:t>Title Goes Here</a:t>
            </a:r>
          </a:p>
        </p:txBody>
      </p:sp>
      <p:sp>
        <p:nvSpPr>
          <p:cNvPr id="2" name="Title 1">
            <a:extLst>
              <a:ext uri="{FF2B5EF4-FFF2-40B4-BE49-F238E27FC236}">
                <a16:creationId xmlns:a16="http://schemas.microsoft.com/office/drawing/2014/main" id="{D93E9574-B856-4A46-BBCE-6115DF4E3884}"/>
              </a:ext>
            </a:extLst>
          </p:cNvPr>
          <p:cNvSpPr>
            <a:spLocks noGrp="1"/>
          </p:cNvSpPr>
          <p:nvPr>
            <p:ph type="title" hasCustomPrompt="1"/>
          </p:nvPr>
        </p:nvSpPr>
        <p:spPr>
          <a:xfrm>
            <a:off x="315913" y="681039"/>
            <a:ext cx="11560175" cy="801442"/>
          </a:xfrm>
        </p:spPr>
        <p:txBody>
          <a:bodyPr/>
          <a:lstStyle>
            <a:lvl1pPr>
              <a:defRPr>
                <a:solidFill>
                  <a:schemeClr val="bg1"/>
                </a:solidFill>
              </a:defRPr>
            </a:lvl1pPr>
          </a:lstStyle>
          <a:p>
            <a:r>
              <a:rPr lang="en-US"/>
              <a:t>Agenda</a:t>
            </a:r>
          </a:p>
        </p:txBody>
      </p:sp>
      <p:sp>
        <p:nvSpPr>
          <p:cNvPr id="4" name="Slide Number Placeholder 3">
            <a:extLst>
              <a:ext uri="{FF2B5EF4-FFF2-40B4-BE49-F238E27FC236}">
                <a16:creationId xmlns:a16="http://schemas.microsoft.com/office/drawing/2014/main" id="{E9470FB9-B8B7-F541-9131-8DD48B015BFA}"/>
              </a:ext>
            </a:extLst>
          </p:cNvPr>
          <p:cNvSpPr>
            <a:spLocks noGrp="1"/>
          </p:cNvSpPr>
          <p:nvPr>
            <p:ph type="sldNum" sz="quarter" idx="11"/>
          </p:nvPr>
        </p:nvSpPr>
        <p:spPr/>
        <p:txBody>
          <a:bodyPr/>
          <a:lstStyle>
            <a:lvl1pPr>
              <a:defRPr>
                <a:solidFill>
                  <a:schemeClr val="bg1"/>
                </a:solidFill>
              </a:defRPr>
            </a:lvl1pPr>
          </a:lstStyle>
          <a:p>
            <a:fld id="{99E61589-955B-3549-AD19-CD847E0672FB}" type="slidenum">
              <a:rPr lang="en-US" smtClean="0"/>
              <a:pPr/>
              <a:t>‹#›</a:t>
            </a:fld>
            <a:endParaRPr lang="en-US"/>
          </a:p>
        </p:txBody>
      </p:sp>
      <p:sp>
        <p:nvSpPr>
          <p:cNvPr id="11" name="Text Placeholder 7">
            <a:extLst>
              <a:ext uri="{FF2B5EF4-FFF2-40B4-BE49-F238E27FC236}">
                <a16:creationId xmlns:a16="http://schemas.microsoft.com/office/drawing/2014/main" id="{DA92B5F5-D500-5749-A34F-D633631DBC71}"/>
              </a:ext>
            </a:extLst>
          </p:cNvPr>
          <p:cNvSpPr>
            <a:spLocks noGrp="1"/>
          </p:cNvSpPr>
          <p:nvPr>
            <p:ph type="body" sz="quarter" idx="13" hasCustomPrompt="1"/>
          </p:nvPr>
        </p:nvSpPr>
        <p:spPr>
          <a:xfrm>
            <a:off x="453273" y="2057399"/>
            <a:ext cx="444622" cy="3460806"/>
          </a:xfrm>
        </p:spPr>
        <p:txBody>
          <a:bodyPr anchor="t"/>
          <a:lstStyle>
            <a:lvl1pPr>
              <a:lnSpc>
                <a:spcPct val="100000"/>
              </a:lnSpc>
              <a:spcBef>
                <a:spcPts val="0"/>
              </a:spcBef>
              <a:spcAft>
                <a:spcPts val="1600"/>
              </a:spcAft>
              <a:defRPr sz="2400" b="1">
                <a:solidFill>
                  <a:schemeClr val="accent2"/>
                </a:solidFill>
                <a:latin typeface="+mj-lt"/>
              </a:defRPr>
            </a:lvl1pPr>
          </a:lstStyle>
          <a:p>
            <a:pPr lvl="0"/>
            <a:r>
              <a:rPr lang="en-US"/>
              <a:t>01 </a:t>
            </a:r>
          </a:p>
          <a:p>
            <a:pPr lvl="0"/>
            <a:r>
              <a:rPr lang="en-US"/>
              <a:t>02</a:t>
            </a:r>
          </a:p>
          <a:p>
            <a:pPr lvl="0"/>
            <a:r>
              <a:rPr lang="en-US"/>
              <a:t>03</a:t>
            </a:r>
          </a:p>
          <a:p>
            <a:pPr lvl="0"/>
            <a:r>
              <a:rPr lang="en-US"/>
              <a:t>04</a:t>
            </a:r>
          </a:p>
          <a:p>
            <a:pPr lvl="0"/>
            <a:r>
              <a:rPr lang="en-US"/>
              <a:t>05</a:t>
            </a:r>
          </a:p>
        </p:txBody>
      </p:sp>
      <p:sp>
        <p:nvSpPr>
          <p:cNvPr id="10" name="Rectangle 9">
            <a:extLst>
              <a:ext uri="{FF2B5EF4-FFF2-40B4-BE49-F238E27FC236}">
                <a16:creationId xmlns:a16="http://schemas.microsoft.com/office/drawing/2014/main" id="{35EADBA2-E97A-6F44-AAAF-F17B8C96168E}"/>
              </a:ext>
            </a:extLst>
          </p:cNvPr>
          <p:cNvSpPr/>
          <p:nvPr userDrawn="1"/>
        </p:nvSpPr>
        <p:spPr>
          <a:xfrm>
            <a:off x="315913" y="323850"/>
            <a:ext cx="11560175"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3C54D5E4-4413-459A-9003-4704F0A7CD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3273" y="6254845"/>
            <a:ext cx="1342074" cy="247392"/>
          </a:xfrm>
          <a:prstGeom prst="rect">
            <a:avLst/>
          </a:prstGeom>
        </p:spPr>
      </p:pic>
    </p:spTree>
    <p:extLst>
      <p:ext uri="{BB962C8B-B14F-4D97-AF65-F5344CB8AC3E}">
        <p14:creationId xmlns:p14="http://schemas.microsoft.com/office/powerpoint/2010/main" val="1454693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lide Divider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E984633-2E42-5240-BC04-4ECCDD653B42}"/>
              </a:ext>
            </a:extLst>
          </p:cNvPr>
          <p:cNvSpPr/>
          <p:nvPr userDrawn="1"/>
        </p:nvSpPr>
        <p:spPr>
          <a:xfrm>
            <a:off x="0" y="0"/>
            <a:ext cx="12192000" cy="6858000"/>
          </a:xfrm>
          <a:prstGeom prst="rect">
            <a:avLst/>
          </a:prstGeom>
          <a:gradFill>
            <a:gsLst>
              <a:gs pos="0">
                <a:srgbClr val="D1A33C"/>
              </a:gs>
              <a:gs pos="100000">
                <a:srgbClr val="F2D71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a:extLst>
              <a:ext uri="{FF2B5EF4-FFF2-40B4-BE49-F238E27FC236}">
                <a16:creationId xmlns:a16="http://schemas.microsoft.com/office/drawing/2014/main" id="{DC89D74F-9B39-114A-8857-FD48BF25C47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043161"/>
            <a:ext cx="1639228" cy="302169"/>
          </a:xfrm>
          <a:prstGeom prst="rect">
            <a:avLst/>
          </a:prstGeom>
        </p:spPr>
      </p:pic>
      <p:sp>
        <p:nvSpPr>
          <p:cNvPr id="10" name="Text Placeholder 2">
            <a:extLst>
              <a:ext uri="{FF2B5EF4-FFF2-40B4-BE49-F238E27FC236}">
                <a16:creationId xmlns:a16="http://schemas.microsoft.com/office/drawing/2014/main" id="{6CEEF5A0-70D1-FC44-AF68-A1525C072474}"/>
              </a:ext>
            </a:extLst>
          </p:cNvPr>
          <p:cNvSpPr>
            <a:spLocks noGrp="1"/>
          </p:cNvSpPr>
          <p:nvPr>
            <p:ph type="body" sz="quarter" idx="12" hasCustomPrompt="1"/>
          </p:nvPr>
        </p:nvSpPr>
        <p:spPr>
          <a:xfrm>
            <a:off x="315913" y="697001"/>
            <a:ext cx="1003578" cy="1005269"/>
          </a:xfrm>
        </p:spPr>
        <p:txBody>
          <a:bodyPr rIns="0" anchor="ctr"/>
          <a:lstStyle>
            <a:lvl1pPr marL="0" indent="0" algn="l" defTabSz="914400" rtl="0" eaLnBrk="1" latinLnBrk="0" hangingPunct="1">
              <a:lnSpc>
                <a:spcPct val="90000"/>
              </a:lnSpc>
              <a:spcBef>
                <a:spcPts val="1000"/>
              </a:spcBef>
              <a:buFont typeface="Arial" panose="020B0604020202020204" pitchFamily="34" charset="0"/>
              <a:buNone/>
              <a:defRPr lang="en-US" sz="6600" b="1" kern="1200" spc="-300" dirty="0">
                <a:solidFill>
                  <a:schemeClr val="bg1"/>
                </a:solidFill>
                <a:latin typeface="+mn-lt"/>
                <a:ea typeface="+mn-ea"/>
                <a:cs typeface="+mn-cs"/>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0#</a:t>
            </a:r>
          </a:p>
        </p:txBody>
      </p:sp>
      <p:sp>
        <p:nvSpPr>
          <p:cNvPr id="11" name="Rectangle 10">
            <a:extLst>
              <a:ext uri="{FF2B5EF4-FFF2-40B4-BE49-F238E27FC236}">
                <a16:creationId xmlns:a16="http://schemas.microsoft.com/office/drawing/2014/main" id="{EC4C8139-D508-134B-A796-C9AE4B24B84B}"/>
              </a:ext>
            </a:extLst>
          </p:cNvPr>
          <p:cNvSpPr/>
          <p:nvPr userDrawn="1"/>
        </p:nvSpPr>
        <p:spPr>
          <a:xfrm>
            <a:off x="315913" y="323850"/>
            <a:ext cx="11560175"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3">
            <a:extLst>
              <a:ext uri="{FF2B5EF4-FFF2-40B4-BE49-F238E27FC236}">
                <a16:creationId xmlns:a16="http://schemas.microsoft.com/office/drawing/2014/main" id="{30EBE833-0393-2149-AD54-8CD1C2D8BBE7}"/>
              </a:ext>
            </a:extLst>
          </p:cNvPr>
          <p:cNvSpPr>
            <a:spLocks noGrp="1"/>
          </p:cNvSpPr>
          <p:nvPr>
            <p:ph type="body" sz="quarter" idx="10" hasCustomPrompt="1"/>
          </p:nvPr>
        </p:nvSpPr>
        <p:spPr>
          <a:xfrm>
            <a:off x="3359599" y="817858"/>
            <a:ext cx="8516488" cy="4182510"/>
          </a:xfrm>
        </p:spPr>
        <p:txBody>
          <a:bodyPr rIns="0" anchor="t"/>
          <a:lstStyle>
            <a:lvl1pPr algn="r">
              <a:lnSpc>
                <a:spcPct val="90000"/>
              </a:lnSpc>
              <a:spcAft>
                <a:spcPts val="0"/>
              </a:spcAft>
              <a:defRPr kumimoji="0" lang="en-US" sz="6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defRPr>
            </a:lvl1pPr>
          </a:lstStyle>
          <a:p>
            <a:pPr lvl="0"/>
            <a:r>
              <a:rPr lang="en-US"/>
              <a:t>Section Header for Long Section Titles with Many Lines</a:t>
            </a:r>
          </a:p>
        </p:txBody>
      </p:sp>
    </p:spTree>
    <p:extLst>
      <p:ext uri="{BB962C8B-B14F-4D97-AF65-F5344CB8AC3E}">
        <p14:creationId xmlns:p14="http://schemas.microsoft.com/office/powerpoint/2010/main" val="2698660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Divider 2">
    <p:spTree>
      <p:nvGrpSpPr>
        <p:cNvPr id="1" name=""/>
        <p:cNvGrpSpPr/>
        <p:nvPr/>
      </p:nvGrpSpPr>
      <p:grpSpPr>
        <a:xfrm>
          <a:off x="0" y="0"/>
          <a:ext cx="0" cy="0"/>
          <a:chOff x="0" y="0"/>
          <a:chExt cx="0" cy="0"/>
        </a:xfrm>
      </p:grpSpPr>
      <p:pic>
        <p:nvPicPr>
          <p:cNvPr id="25" name="Graphic 24">
            <a:extLst>
              <a:ext uri="{FF2B5EF4-FFF2-40B4-BE49-F238E27FC236}">
                <a16:creationId xmlns:a16="http://schemas.microsoft.com/office/drawing/2014/main" id="{DC89D74F-9B39-114A-8857-FD48BF25C47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043161"/>
            <a:ext cx="1639228" cy="302169"/>
          </a:xfrm>
          <a:prstGeom prst="rect">
            <a:avLst/>
          </a:prstGeom>
        </p:spPr>
      </p:pic>
      <p:sp>
        <p:nvSpPr>
          <p:cNvPr id="10" name="Text Placeholder 2">
            <a:extLst>
              <a:ext uri="{FF2B5EF4-FFF2-40B4-BE49-F238E27FC236}">
                <a16:creationId xmlns:a16="http://schemas.microsoft.com/office/drawing/2014/main" id="{6CEEF5A0-70D1-FC44-AF68-A1525C072474}"/>
              </a:ext>
            </a:extLst>
          </p:cNvPr>
          <p:cNvSpPr>
            <a:spLocks noGrp="1"/>
          </p:cNvSpPr>
          <p:nvPr>
            <p:ph type="body" sz="quarter" idx="12" hasCustomPrompt="1"/>
          </p:nvPr>
        </p:nvSpPr>
        <p:spPr>
          <a:xfrm>
            <a:off x="315913" y="697001"/>
            <a:ext cx="1003578" cy="1005269"/>
          </a:xfrm>
        </p:spPr>
        <p:txBody>
          <a:bodyPr rIns="0" anchor="ctr"/>
          <a:lstStyle>
            <a:lvl1pPr marL="0" indent="0" algn="l" defTabSz="914400" rtl="0" eaLnBrk="1" latinLnBrk="0" hangingPunct="1">
              <a:lnSpc>
                <a:spcPct val="90000"/>
              </a:lnSpc>
              <a:spcBef>
                <a:spcPts val="1000"/>
              </a:spcBef>
              <a:buFont typeface="Arial" panose="020B0604020202020204" pitchFamily="34" charset="0"/>
              <a:buNone/>
              <a:defRPr lang="en-US" sz="6600" b="1" kern="1200" spc="-300" dirty="0">
                <a:gradFill>
                  <a:gsLst>
                    <a:gs pos="0">
                      <a:srgbClr val="D1A33C"/>
                    </a:gs>
                    <a:gs pos="100000">
                      <a:srgbClr val="F2D713"/>
                    </a:gs>
                  </a:gsLst>
                  <a:lin ang="0" scaled="0"/>
                </a:gradFill>
                <a:latin typeface="+mn-lt"/>
                <a:ea typeface="+mn-ea"/>
                <a:cs typeface="+mn-cs"/>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0#</a:t>
            </a:r>
          </a:p>
        </p:txBody>
      </p:sp>
      <p:sp>
        <p:nvSpPr>
          <p:cNvPr id="11" name="Rectangle 10">
            <a:extLst>
              <a:ext uri="{FF2B5EF4-FFF2-40B4-BE49-F238E27FC236}">
                <a16:creationId xmlns:a16="http://schemas.microsoft.com/office/drawing/2014/main" id="{EC4C8139-D508-134B-A796-C9AE4B24B84B}"/>
              </a:ext>
            </a:extLst>
          </p:cNvPr>
          <p:cNvSpPr/>
          <p:nvPr userDrawn="1"/>
        </p:nvSpPr>
        <p:spPr>
          <a:xfrm>
            <a:off x="315913" y="323850"/>
            <a:ext cx="11560175"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3">
            <a:extLst>
              <a:ext uri="{FF2B5EF4-FFF2-40B4-BE49-F238E27FC236}">
                <a16:creationId xmlns:a16="http://schemas.microsoft.com/office/drawing/2014/main" id="{30EBE833-0393-2149-AD54-8CD1C2D8BBE7}"/>
              </a:ext>
            </a:extLst>
          </p:cNvPr>
          <p:cNvSpPr>
            <a:spLocks noGrp="1"/>
          </p:cNvSpPr>
          <p:nvPr>
            <p:ph type="body" sz="quarter" idx="10" hasCustomPrompt="1"/>
          </p:nvPr>
        </p:nvSpPr>
        <p:spPr>
          <a:xfrm>
            <a:off x="3359599" y="817858"/>
            <a:ext cx="8516488" cy="4182510"/>
          </a:xfrm>
        </p:spPr>
        <p:txBody>
          <a:bodyPr rIns="0" anchor="t"/>
          <a:lstStyle>
            <a:lvl1pPr algn="r">
              <a:lnSpc>
                <a:spcPct val="90000"/>
              </a:lnSpc>
              <a:spcAft>
                <a:spcPts val="0"/>
              </a:spcAft>
              <a:defRPr kumimoji="0" lang="en-US" sz="6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defRPr>
            </a:lvl1pPr>
          </a:lstStyle>
          <a:p>
            <a:pPr lvl="0"/>
            <a:r>
              <a:rPr lang="en-US"/>
              <a:t>Section Header for Long Section Titles with Many Lines</a:t>
            </a:r>
          </a:p>
        </p:txBody>
      </p:sp>
    </p:spTree>
    <p:extLst>
      <p:ext uri="{BB962C8B-B14F-4D97-AF65-F5344CB8AC3E}">
        <p14:creationId xmlns:p14="http://schemas.microsoft.com/office/powerpoint/2010/main" val="13145991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Divider 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182C6A-6F82-6D4D-8314-DBEE7B4182E8}"/>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a:extLst>
              <a:ext uri="{FF2B5EF4-FFF2-40B4-BE49-F238E27FC236}">
                <a16:creationId xmlns:a16="http://schemas.microsoft.com/office/drawing/2014/main" id="{DC89D74F-9B39-114A-8857-FD48BF25C47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043161"/>
            <a:ext cx="1639228" cy="302169"/>
          </a:xfrm>
          <a:prstGeom prst="rect">
            <a:avLst/>
          </a:prstGeom>
        </p:spPr>
      </p:pic>
      <p:sp>
        <p:nvSpPr>
          <p:cNvPr id="10" name="Text Placeholder 2">
            <a:extLst>
              <a:ext uri="{FF2B5EF4-FFF2-40B4-BE49-F238E27FC236}">
                <a16:creationId xmlns:a16="http://schemas.microsoft.com/office/drawing/2014/main" id="{6CEEF5A0-70D1-FC44-AF68-A1525C072474}"/>
              </a:ext>
            </a:extLst>
          </p:cNvPr>
          <p:cNvSpPr>
            <a:spLocks noGrp="1"/>
          </p:cNvSpPr>
          <p:nvPr>
            <p:ph type="body" sz="quarter" idx="12" hasCustomPrompt="1"/>
          </p:nvPr>
        </p:nvSpPr>
        <p:spPr>
          <a:xfrm>
            <a:off x="315913" y="697001"/>
            <a:ext cx="1003578" cy="1005269"/>
          </a:xfrm>
        </p:spPr>
        <p:txBody>
          <a:bodyPr rIns="0" anchor="ctr"/>
          <a:lstStyle>
            <a:lvl1pPr marL="0" indent="0" algn="l" defTabSz="914400" rtl="0" eaLnBrk="1" latinLnBrk="0" hangingPunct="1">
              <a:lnSpc>
                <a:spcPct val="90000"/>
              </a:lnSpc>
              <a:spcBef>
                <a:spcPts val="1000"/>
              </a:spcBef>
              <a:buFont typeface="Arial" panose="020B0604020202020204" pitchFamily="34" charset="0"/>
              <a:buNone/>
              <a:defRPr lang="en-US" sz="6600" b="1" kern="1200" spc="-300" dirty="0">
                <a:gradFill>
                  <a:gsLst>
                    <a:gs pos="0">
                      <a:srgbClr val="D1A33C"/>
                    </a:gs>
                    <a:gs pos="100000">
                      <a:srgbClr val="F2D713"/>
                    </a:gs>
                  </a:gsLst>
                  <a:lin ang="0" scaled="0"/>
                </a:gradFill>
                <a:latin typeface="+mn-lt"/>
                <a:ea typeface="+mn-ea"/>
                <a:cs typeface="+mn-cs"/>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0#</a:t>
            </a:r>
          </a:p>
        </p:txBody>
      </p:sp>
      <p:sp>
        <p:nvSpPr>
          <p:cNvPr id="11" name="Rectangle 10">
            <a:extLst>
              <a:ext uri="{FF2B5EF4-FFF2-40B4-BE49-F238E27FC236}">
                <a16:creationId xmlns:a16="http://schemas.microsoft.com/office/drawing/2014/main" id="{EC4C8139-D508-134B-A796-C9AE4B24B84B}"/>
              </a:ext>
            </a:extLst>
          </p:cNvPr>
          <p:cNvSpPr/>
          <p:nvPr userDrawn="1"/>
        </p:nvSpPr>
        <p:spPr>
          <a:xfrm>
            <a:off x="315913" y="323850"/>
            <a:ext cx="11560175"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3">
            <a:extLst>
              <a:ext uri="{FF2B5EF4-FFF2-40B4-BE49-F238E27FC236}">
                <a16:creationId xmlns:a16="http://schemas.microsoft.com/office/drawing/2014/main" id="{30EBE833-0393-2149-AD54-8CD1C2D8BBE7}"/>
              </a:ext>
            </a:extLst>
          </p:cNvPr>
          <p:cNvSpPr>
            <a:spLocks noGrp="1"/>
          </p:cNvSpPr>
          <p:nvPr>
            <p:ph type="body" sz="quarter" idx="10" hasCustomPrompt="1"/>
          </p:nvPr>
        </p:nvSpPr>
        <p:spPr>
          <a:xfrm>
            <a:off x="3359599" y="817858"/>
            <a:ext cx="8516488" cy="4182510"/>
          </a:xfrm>
        </p:spPr>
        <p:txBody>
          <a:bodyPr rIns="0" anchor="t"/>
          <a:lstStyle>
            <a:lvl1pPr algn="r">
              <a:lnSpc>
                <a:spcPct val="90000"/>
              </a:lnSpc>
              <a:spcAft>
                <a:spcPts val="0"/>
              </a:spcAft>
              <a:defRPr kumimoji="0" lang="en-US" sz="6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en-US"/>
              <a:t>Section Header for Long Section Titles with Many Lines</a:t>
            </a:r>
          </a:p>
        </p:txBody>
      </p:sp>
    </p:spTree>
    <p:extLst>
      <p:ext uri="{BB962C8B-B14F-4D97-AF65-F5344CB8AC3E}">
        <p14:creationId xmlns:p14="http://schemas.microsoft.com/office/powerpoint/2010/main" val="11862316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lide Divider Photo 1">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1EBAE255-A00F-8A46-BFE9-588871B19FE0}"/>
              </a:ext>
            </a:extLst>
          </p:cNvPr>
          <p:cNvSpPr/>
          <p:nvPr userDrawn="1"/>
        </p:nvSpPr>
        <p:spPr>
          <a:xfrm>
            <a:off x="315912" y="323183"/>
            <a:ext cx="11560175"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Picture Placeholder 69">
            <a:extLst>
              <a:ext uri="{FF2B5EF4-FFF2-40B4-BE49-F238E27FC236}">
                <a16:creationId xmlns:a16="http://schemas.microsoft.com/office/drawing/2014/main" id="{920A70D9-C170-BD45-B4E6-7D1610D9D775}"/>
              </a:ext>
            </a:extLst>
          </p:cNvPr>
          <p:cNvSpPr>
            <a:spLocks noGrp="1"/>
          </p:cNvSpPr>
          <p:nvPr>
            <p:ph type="pic" sz="quarter" idx="13" hasCustomPrompt="1"/>
          </p:nvPr>
        </p:nvSpPr>
        <p:spPr>
          <a:xfrm>
            <a:off x="2" y="2"/>
            <a:ext cx="12191999" cy="6857999"/>
          </a:xfrm>
          <a:custGeom>
            <a:avLst/>
            <a:gdLst>
              <a:gd name="connsiteX0" fmla="*/ 458949 w 12191999"/>
              <a:gd name="connsiteY0" fmla="*/ 6222152 h 6857999"/>
              <a:gd name="connsiteX1" fmla="*/ 585042 w 12191999"/>
              <a:gd name="connsiteY1" fmla="*/ 6344203 h 6857999"/>
              <a:gd name="connsiteX2" fmla="*/ 487955 w 12191999"/>
              <a:gd name="connsiteY2" fmla="*/ 6229765 h 6857999"/>
              <a:gd name="connsiteX3" fmla="*/ 458949 w 12191999"/>
              <a:gd name="connsiteY3" fmla="*/ 6222152 h 6857999"/>
              <a:gd name="connsiteX4" fmla="*/ 1581392 w 12191999"/>
              <a:gd name="connsiteY4" fmla="*/ 6206459 h 6857999"/>
              <a:gd name="connsiteX5" fmla="*/ 1633573 w 12191999"/>
              <a:gd name="connsiteY5" fmla="*/ 6206459 h 6857999"/>
              <a:gd name="connsiteX6" fmla="*/ 1647383 w 12191999"/>
              <a:gd name="connsiteY6" fmla="*/ 6207770 h 6857999"/>
              <a:gd name="connsiteX7" fmla="*/ 1675755 w 12191999"/>
              <a:gd name="connsiteY7" fmla="*/ 6242040 h 6857999"/>
              <a:gd name="connsiteX8" fmla="*/ 1647054 w 12191999"/>
              <a:gd name="connsiteY8" fmla="*/ 6276239 h 6857999"/>
              <a:gd name="connsiteX9" fmla="*/ 1647079 w 12191999"/>
              <a:gd name="connsiteY9" fmla="*/ 6276239 h 6857999"/>
              <a:gd name="connsiteX10" fmla="*/ 1629924 w 12191999"/>
              <a:gd name="connsiteY10" fmla="*/ 6277726 h 6857999"/>
              <a:gd name="connsiteX11" fmla="*/ 1581392 w 12191999"/>
              <a:gd name="connsiteY11" fmla="*/ 6277726 h 6857999"/>
              <a:gd name="connsiteX12" fmla="*/ 1117820 w 12191999"/>
              <a:gd name="connsiteY12" fmla="*/ 6204690 h 6857999"/>
              <a:gd name="connsiteX13" fmla="*/ 1192835 w 12191999"/>
              <a:gd name="connsiteY13" fmla="*/ 6243597 h 6857999"/>
              <a:gd name="connsiteX14" fmla="*/ 1150605 w 12191999"/>
              <a:gd name="connsiteY14" fmla="*/ 6277691 h 6857999"/>
              <a:gd name="connsiteX15" fmla="*/ 1150605 w 12191999"/>
              <a:gd name="connsiteY15" fmla="*/ 6277655 h 6857999"/>
              <a:gd name="connsiteX16" fmla="*/ 1098459 w 12191999"/>
              <a:gd name="connsiteY16" fmla="*/ 6277655 h 6857999"/>
              <a:gd name="connsiteX17" fmla="*/ 1098459 w 12191999"/>
              <a:gd name="connsiteY17" fmla="*/ 6205041 h 6857999"/>
              <a:gd name="connsiteX18" fmla="*/ 1117820 w 12191999"/>
              <a:gd name="connsiteY18" fmla="*/ 6204690 h 6857999"/>
              <a:gd name="connsiteX19" fmla="*/ 1826161 w 12191999"/>
              <a:gd name="connsiteY19" fmla="*/ 6170585 h 6857999"/>
              <a:gd name="connsiteX20" fmla="*/ 1876358 w 12191999"/>
              <a:gd name="connsiteY20" fmla="*/ 6213439 h 6857999"/>
              <a:gd name="connsiteX21" fmla="*/ 1776608 w 12191999"/>
              <a:gd name="connsiteY21" fmla="*/ 6213439 h 6857999"/>
              <a:gd name="connsiteX22" fmla="*/ 1826161 w 12191999"/>
              <a:gd name="connsiteY22" fmla="*/ 6170585 h 6857999"/>
              <a:gd name="connsiteX23" fmla="*/ 1914658 w 12191999"/>
              <a:gd name="connsiteY23" fmla="*/ 6137744 h 6857999"/>
              <a:gd name="connsiteX24" fmla="*/ 1986141 w 12191999"/>
              <a:gd name="connsiteY24" fmla="*/ 6317394 h 6857999"/>
              <a:gd name="connsiteX25" fmla="*/ 2025086 w 12191999"/>
              <a:gd name="connsiteY25" fmla="*/ 6317394 h 6857999"/>
              <a:gd name="connsiteX26" fmla="*/ 2096428 w 12191999"/>
              <a:gd name="connsiteY26" fmla="*/ 6137744 h 6857999"/>
              <a:gd name="connsiteX27" fmla="*/ 2051159 w 12191999"/>
              <a:gd name="connsiteY27" fmla="*/ 6137744 h 6857999"/>
              <a:gd name="connsiteX28" fmla="*/ 2006101 w 12191999"/>
              <a:gd name="connsiteY28" fmla="*/ 6266084 h 6857999"/>
              <a:gd name="connsiteX29" fmla="*/ 1960373 w 12191999"/>
              <a:gd name="connsiteY29" fmla="*/ 6137744 h 6857999"/>
              <a:gd name="connsiteX30" fmla="*/ 1825773 w 12191999"/>
              <a:gd name="connsiteY30" fmla="*/ 6133903 h 6857999"/>
              <a:gd name="connsiteX31" fmla="*/ 1734730 w 12191999"/>
              <a:gd name="connsiteY31" fmla="*/ 6228829 h 6857999"/>
              <a:gd name="connsiteX32" fmla="*/ 1827569 w 12191999"/>
              <a:gd name="connsiteY32" fmla="*/ 6321236 h 6857999"/>
              <a:gd name="connsiteX33" fmla="*/ 1912593 w 12191999"/>
              <a:gd name="connsiteY33" fmla="*/ 6262278 h 6857999"/>
              <a:gd name="connsiteX34" fmla="*/ 1869682 w 12191999"/>
              <a:gd name="connsiteY34" fmla="*/ 6262278 h 6857999"/>
              <a:gd name="connsiteX35" fmla="*/ 1828285 w 12191999"/>
              <a:gd name="connsiteY35" fmla="*/ 6284531 h 6857999"/>
              <a:gd name="connsiteX36" fmla="*/ 1776479 w 12191999"/>
              <a:gd name="connsiteY36" fmla="*/ 6242860 h 6857999"/>
              <a:gd name="connsiteX37" fmla="*/ 1916946 w 12191999"/>
              <a:gd name="connsiteY37" fmla="*/ 6242860 h 6857999"/>
              <a:gd name="connsiteX38" fmla="*/ 1918225 w 12191999"/>
              <a:gd name="connsiteY38" fmla="*/ 6225795 h 6857999"/>
              <a:gd name="connsiteX39" fmla="*/ 1825773 w 12191999"/>
              <a:gd name="connsiteY39" fmla="*/ 6133903 h 6857999"/>
              <a:gd name="connsiteX40" fmla="*/ 1437874 w 12191999"/>
              <a:gd name="connsiteY40" fmla="*/ 6133903 h 6857999"/>
              <a:gd name="connsiteX41" fmla="*/ 1381716 w 12191999"/>
              <a:gd name="connsiteY41" fmla="*/ 6164038 h 6857999"/>
              <a:gd name="connsiteX42" fmla="*/ 1381716 w 12191999"/>
              <a:gd name="connsiteY42" fmla="*/ 6137745 h 6857999"/>
              <a:gd name="connsiteX43" fmla="*/ 1342243 w 12191999"/>
              <a:gd name="connsiteY43" fmla="*/ 6137745 h 6857999"/>
              <a:gd name="connsiteX44" fmla="*/ 1342243 w 12191999"/>
              <a:gd name="connsiteY44" fmla="*/ 6317395 h 6857999"/>
              <a:gd name="connsiteX45" fmla="*/ 1384485 w 12191999"/>
              <a:gd name="connsiteY45" fmla="*/ 6317395 h 6857999"/>
              <a:gd name="connsiteX46" fmla="*/ 1384485 w 12191999"/>
              <a:gd name="connsiteY46" fmla="*/ 6222235 h 6857999"/>
              <a:gd name="connsiteX47" fmla="*/ 1386468 w 12191999"/>
              <a:gd name="connsiteY47" fmla="*/ 6202453 h 6857999"/>
              <a:gd name="connsiteX48" fmla="*/ 1425519 w 12191999"/>
              <a:gd name="connsiteY48" fmla="*/ 6171826 h 6857999"/>
              <a:gd name="connsiteX49" fmla="*/ 1462574 w 12191999"/>
              <a:gd name="connsiteY49" fmla="*/ 6203343 h 6857999"/>
              <a:gd name="connsiteX50" fmla="*/ 1463959 w 12191999"/>
              <a:gd name="connsiteY50" fmla="*/ 6222200 h 6857999"/>
              <a:gd name="connsiteX51" fmla="*/ 1463959 w 12191999"/>
              <a:gd name="connsiteY51" fmla="*/ 6317395 h 6857999"/>
              <a:gd name="connsiteX52" fmla="*/ 1506201 w 12191999"/>
              <a:gd name="connsiteY52" fmla="*/ 6317395 h 6857999"/>
              <a:gd name="connsiteX53" fmla="*/ 1506201 w 12191999"/>
              <a:gd name="connsiteY53" fmla="*/ 6211085 h 6857999"/>
              <a:gd name="connsiteX54" fmla="*/ 1502212 w 12191999"/>
              <a:gd name="connsiteY54" fmla="*/ 6179170 h 6857999"/>
              <a:gd name="connsiteX55" fmla="*/ 1437874 w 12191999"/>
              <a:gd name="connsiteY55" fmla="*/ 6133903 h 6857999"/>
              <a:gd name="connsiteX56" fmla="*/ 919998 w 12191999"/>
              <a:gd name="connsiteY56" fmla="*/ 6114613 h 6857999"/>
              <a:gd name="connsiteX57" fmla="*/ 952724 w 12191999"/>
              <a:gd name="connsiteY57" fmla="*/ 6201762 h 6857999"/>
              <a:gd name="connsiteX58" fmla="*/ 863675 w 12191999"/>
              <a:gd name="connsiteY58" fmla="*/ 6259982 h 6857999"/>
              <a:gd name="connsiteX59" fmla="*/ 863675 w 12191999"/>
              <a:gd name="connsiteY59" fmla="*/ 6259959 h 6857999"/>
              <a:gd name="connsiteX60" fmla="*/ 1581369 w 12191999"/>
              <a:gd name="connsiteY60" fmla="*/ 6104318 h 6857999"/>
              <a:gd name="connsiteX61" fmla="*/ 1620278 w 12191999"/>
              <a:gd name="connsiteY61" fmla="*/ 6104318 h 6857999"/>
              <a:gd name="connsiteX62" fmla="*/ 1644637 w 12191999"/>
              <a:gd name="connsiteY62" fmla="*/ 6108324 h 6857999"/>
              <a:gd name="connsiteX63" fmla="*/ 1660890 w 12191999"/>
              <a:gd name="connsiteY63" fmla="*/ 6135894 h 6857999"/>
              <a:gd name="connsiteX64" fmla="*/ 1644062 w 12191999"/>
              <a:gd name="connsiteY64" fmla="*/ 6163804 h 6857999"/>
              <a:gd name="connsiteX65" fmla="*/ 1621769 w 12191999"/>
              <a:gd name="connsiteY65" fmla="*/ 6167493 h 6857999"/>
              <a:gd name="connsiteX66" fmla="*/ 1581392 w 12191999"/>
              <a:gd name="connsiteY66" fmla="*/ 6167493 h 6857999"/>
              <a:gd name="connsiteX67" fmla="*/ 1098459 w 12191999"/>
              <a:gd name="connsiteY67" fmla="*/ 6104318 h 6857999"/>
              <a:gd name="connsiteX68" fmla="*/ 1135644 w 12191999"/>
              <a:gd name="connsiteY68" fmla="*/ 6104318 h 6857999"/>
              <a:gd name="connsiteX69" fmla="*/ 1156143 w 12191999"/>
              <a:gd name="connsiteY69" fmla="*/ 6106871 h 6857999"/>
              <a:gd name="connsiteX70" fmla="*/ 1177980 w 12191999"/>
              <a:gd name="connsiteY70" fmla="*/ 6139220 h 6857999"/>
              <a:gd name="connsiteX71" fmla="*/ 1157281 w 12191999"/>
              <a:gd name="connsiteY71" fmla="*/ 6170292 h 6857999"/>
              <a:gd name="connsiteX72" fmla="*/ 1116623 w 12191999"/>
              <a:gd name="connsiteY72" fmla="*/ 6167106 h 6857999"/>
              <a:gd name="connsiteX73" fmla="*/ 1098459 w 12191999"/>
              <a:gd name="connsiteY73" fmla="*/ 6167387 h 6857999"/>
              <a:gd name="connsiteX74" fmla="*/ 708600 w 12191999"/>
              <a:gd name="connsiteY74" fmla="*/ 6080273 h 6857999"/>
              <a:gd name="connsiteX75" fmla="*/ 608510 w 12191999"/>
              <a:gd name="connsiteY75" fmla="*/ 6229343 h 6857999"/>
              <a:gd name="connsiteX76" fmla="*/ 643571 w 12191999"/>
              <a:gd name="connsiteY76" fmla="*/ 6341907 h 6857999"/>
              <a:gd name="connsiteX77" fmla="*/ 756163 w 12191999"/>
              <a:gd name="connsiteY77" fmla="*/ 6159075 h 6857999"/>
              <a:gd name="connsiteX78" fmla="*/ 708600 w 12191999"/>
              <a:gd name="connsiteY78" fmla="*/ 6080273 h 6857999"/>
              <a:gd name="connsiteX79" fmla="*/ 1538047 w 12191999"/>
              <a:gd name="connsiteY79" fmla="*/ 6064650 h 6857999"/>
              <a:gd name="connsiteX80" fmla="*/ 1538047 w 12191999"/>
              <a:gd name="connsiteY80" fmla="*/ 6317394 h 6857999"/>
              <a:gd name="connsiteX81" fmla="*/ 1627694 w 12191999"/>
              <a:gd name="connsiteY81" fmla="*/ 6317394 h 6857999"/>
              <a:gd name="connsiteX82" fmla="*/ 1668352 w 12191999"/>
              <a:gd name="connsiteY82" fmla="*/ 6311691 h 6857999"/>
              <a:gd name="connsiteX83" fmla="*/ 1719101 w 12191999"/>
              <a:gd name="connsiteY83" fmla="*/ 6243668 h 6857999"/>
              <a:gd name="connsiteX84" fmla="*/ 1679934 w 12191999"/>
              <a:gd name="connsiteY84" fmla="*/ 6182309 h 6857999"/>
              <a:gd name="connsiteX85" fmla="*/ 1704270 w 12191999"/>
              <a:gd name="connsiteY85" fmla="*/ 6132603 h 6857999"/>
              <a:gd name="connsiteX86" fmla="*/ 1653814 w 12191999"/>
              <a:gd name="connsiteY86" fmla="*/ 6068023 h 6857999"/>
              <a:gd name="connsiteX87" fmla="*/ 1618095 w 12191999"/>
              <a:gd name="connsiteY87" fmla="*/ 6064650 h 6857999"/>
              <a:gd name="connsiteX88" fmla="*/ 1261795 w 12191999"/>
              <a:gd name="connsiteY88" fmla="*/ 6064650 h 6857999"/>
              <a:gd name="connsiteX89" fmla="*/ 1261795 w 12191999"/>
              <a:gd name="connsiteY89" fmla="*/ 6317394 h 6857999"/>
              <a:gd name="connsiteX90" fmla="*/ 1305610 w 12191999"/>
              <a:gd name="connsiteY90" fmla="*/ 6317394 h 6857999"/>
              <a:gd name="connsiteX91" fmla="*/ 1305610 w 12191999"/>
              <a:gd name="connsiteY91" fmla="*/ 6064650 h 6857999"/>
              <a:gd name="connsiteX92" fmla="*/ 900344 w 12191999"/>
              <a:gd name="connsiteY92" fmla="*/ 6064638 h 6857999"/>
              <a:gd name="connsiteX93" fmla="*/ 797003 w 12191999"/>
              <a:gd name="connsiteY93" fmla="*/ 6317394 h 6857999"/>
              <a:gd name="connsiteX94" fmla="*/ 839163 w 12191999"/>
              <a:gd name="connsiteY94" fmla="*/ 6317394 h 6857999"/>
              <a:gd name="connsiteX95" fmla="*/ 964399 w 12191999"/>
              <a:gd name="connsiteY95" fmla="*/ 6233068 h 6857999"/>
              <a:gd name="connsiteX96" fmla="*/ 996081 w 12191999"/>
              <a:gd name="connsiteY96" fmla="*/ 6317394 h 6857999"/>
              <a:gd name="connsiteX97" fmla="*/ 1043896 w 12191999"/>
              <a:gd name="connsiteY97" fmla="*/ 6317394 h 6857999"/>
              <a:gd name="connsiteX98" fmla="*/ 1003872 w 12191999"/>
              <a:gd name="connsiteY98" fmla="*/ 6219470 h 6857999"/>
              <a:gd name="connsiteX99" fmla="*/ 1055102 w 12191999"/>
              <a:gd name="connsiteY99" fmla="*/ 6208520 h 6857999"/>
              <a:gd name="connsiteX100" fmla="*/ 1055102 w 12191999"/>
              <a:gd name="connsiteY100" fmla="*/ 6317359 h 6857999"/>
              <a:gd name="connsiteX101" fmla="*/ 1076857 w 12191999"/>
              <a:gd name="connsiteY101" fmla="*/ 6317359 h 6857999"/>
              <a:gd name="connsiteX102" fmla="*/ 1153268 w 12191999"/>
              <a:gd name="connsiteY102" fmla="*/ 6317359 h 6857999"/>
              <a:gd name="connsiteX103" fmla="*/ 1236227 w 12191999"/>
              <a:gd name="connsiteY103" fmla="*/ 6243574 h 6857999"/>
              <a:gd name="connsiteX104" fmla="*/ 1196614 w 12191999"/>
              <a:gd name="connsiteY104" fmla="*/ 6182660 h 6857999"/>
              <a:gd name="connsiteX105" fmla="*/ 1221325 w 12191999"/>
              <a:gd name="connsiteY105" fmla="*/ 6132603 h 6857999"/>
              <a:gd name="connsiteX106" fmla="*/ 1170869 w 12191999"/>
              <a:gd name="connsiteY106" fmla="*/ 6068023 h 6857999"/>
              <a:gd name="connsiteX107" fmla="*/ 1135151 w 12191999"/>
              <a:gd name="connsiteY107" fmla="*/ 6064650 h 6857999"/>
              <a:gd name="connsiteX108" fmla="*/ 1055102 w 12191999"/>
              <a:gd name="connsiteY108" fmla="*/ 6064650 h 6857999"/>
              <a:gd name="connsiteX109" fmla="*/ 1055102 w 12191999"/>
              <a:gd name="connsiteY109" fmla="*/ 6171299 h 6857999"/>
              <a:gd name="connsiteX110" fmla="*/ 990566 w 12191999"/>
              <a:gd name="connsiteY110" fmla="*/ 6186841 h 6857999"/>
              <a:gd name="connsiteX111" fmla="*/ 940556 w 12191999"/>
              <a:gd name="connsiteY111" fmla="*/ 6064638 h 6857999"/>
              <a:gd name="connsiteX112" fmla="*/ 634747 w 12191999"/>
              <a:gd name="connsiteY112" fmla="*/ 6044962 h 6857999"/>
              <a:gd name="connsiteX113" fmla="*/ 458673 w 12191999"/>
              <a:gd name="connsiteY113" fmla="*/ 6167931 h 6857999"/>
              <a:gd name="connsiteX114" fmla="*/ 456919 w 12191999"/>
              <a:gd name="connsiteY114" fmla="*/ 6181266 h 6857999"/>
              <a:gd name="connsiteX115" fmla="*/ 493435 w 12191999"/>
              <a:gd name="connsiteY115" fmla="*/ 6182320 h 6857999"/>
              <a:gd name="connsiteX116" fmla="*/ 634747 w 12191999"/>
              <a:gd name="connsiteY116" fmla="*/ 6044962 h 6857999"/>
              <a:gd name="connsiteX117" fmla="*/ 315913 w 12191999"/>
              <a:gd name="connsiteY117" fmla="*/ 323850 h 6857999"/>
              <a:gd name="connsiteX118" fmla="*/ 315913 w 12191999"/>
              <a:gd name="connsiteY118" fmla="*/ 457200 h 6857999"/>
              <a:gd name="connsiteX119" fmla="*/ 11876087 w 12191999"/>
              <a:gd name="connsiteY119" fmla="*/ 457200 h 6857999"/>
              <a:gd name="connsiteX120" fmla="*/ 11876087 w 12191999"/>
              <a:gd name="connsiteY120" fmla="*/ 323850 h 6857999"/>
              <a:gd name="connsiteX121" fmla="*/ 0 w 12191999"/>
              <a:gd name="connsiteY121" fmla="*/ 0 h 6857999"/>
              <a:gd name="connsiteX122" fmla="*/ 12191999 w 12191999"/>
              <a:gd name="connsiteY122" fmla="*/ 0 h 6857999"/>
              <a:gd name="connsiteX123" fmla="*/ 12191999 w 12191999"/>
              <a:gd name="connsiteY123" fmla="*/ 6857999 h 6857999"/>
              <a:gd name="connsiteX124" fmla="*/ 0 w 12191999"/>
              <a:gd name="connsiteY12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12191999" h="6857999">
                <a:moveTo>
                  <a:pt x="458949" y="6222152"/>
                </a:moveTo>
                <a:cubicBezTo>
                  <a:pt x="470763" y="6285426"/>
                  <a:pt x="521316" y="6334359"/>
                  <a:pt x="585042" y="6344203"/>
                </a:cubicBezTo>
                <a:cubicBezTo>
                  <a:pt x="583411" y="6297437"/>
                  <a:pt x="545440" y="6250331"/>
                  <a:pt x="487955" y="6229765"/>
                </a:cubicBezTo>
                <a:cubicBezTo>
                  <a:pt x="478527" y="6226388"/>
                  <a:pt x="468821" y="6223841"/>
                  <a:pt x="458949" y="6222152"/>
                </a:cubicBezTo>
                <a:close/>
                <a:moveTo>
                  <a:pt x="1581392" y="6206459"/>
                </a:moveTo>
                <a:lnTo>
                  <a:pt x="1633573" y="6206459"/>
                </a:lnTo>
                <a:cubicBezTo>
                  <a:pt x="1638208" y="6206433"/>
                  <a:pt x="1642831" y="6206873"/>
                  <a:pt x="1647383" y="6207770"/>
                </a:cubicBezTo>
                <a:cubicBezTo>
                  <a:pt x="1667895" y="6212315"/>
                  <a:pt x="1675755" y="6228465"/>
                  <a:pt x="1675755" y="6242040"/>
                </a:cubicBezTo>
                <a:cubicBezTo>
                  <a:pt x="1675755" y="6259994"/>
                  <a:pt x="1664198" y="6272175"/>
                  <a:pt x="1647054" y="6276239"/>
                </a:cubicBezTo>
                <a:lnTo>
                  <a:pt x="1647079" y="6276239"/>
                </a:lnTo>
                <a:cubicBezTo>
                  <a:pt x="1641423" y="6277283"/>
                  <a:pt x="1635673" y="6277782"/>
                  <a:pt x="1629924" y="6277726"/>
                </a:cubicBezTo>
                <a:lnTo>
                  <a:pt x="1581392" y="6277726"/>
                </a:lnTo>
                <a:close/>
                <a:moveTo>
                  <a:pt x="1117820" y="6204690"/>
                </a:moveTo>
                <a:cubicBezTo>
                  <a:pt x="1165249" y="6205299"/>
                  <a:pt x="1192835" y="6219084"/>
                  <a:pt x="1192835" y="6243597"/>
                </a:cubicBezTo>
                <a:cubicBezTo>
                  <a:pt x="1192835" y="6265662"/>
                  <a:pt x="1173075" y="6277691"/>
                  <a:pt x="1150605" y="6277691"/>
                </a:cubicBezTo>
                <a:lnTo>
                  <a:pt x="1150605" y="6277655"/>
                </a:lnTo>
                <a:lnTo>
                  <a:pt x="1098459" y="6277655"/>
                </a:lnTo>
                <a:lnTo>
                  <a:pt x="1098459" y="6205041"/>
                </a:lnTo>
                <a:cubicBezTo>
                  <a:pt x="1105065" y="6204760"/>
                  <a:pt x="1111554" y="6204620"/>
                  <a:pt x="1117820" y="6204690"/>
                </a:cubicBezTo>
                <a:close/>
                <a:moveTo>
                  <a:pt x="1826161" y="6170585"/>
                </a:moveTo>
                <a:cubicBezTo>
                  <a:pt x="1852973" y="6170585"/>
                  <a:pt x="1873355" y="6188305"/>
                  <a:pt x="1876358" y="6213439"/>
                </a:cubicBezTo>
                <a:lnTo>
                  <a:pt x="1776608" y="6213439"/>
                </a:lnTo>
                <a:cubicBezTo>
                  <a:pt x="1779636" y="6187579"/>
                  <a:pt x="1800639" y="6170585"/>
                  <a:pt x="1826161" y="6170585"/>
                </a:cubicBezTo>
                <a:close/>
                <a:moveTo>
                  <a:pt x="1914658" y="6137744"/>
                </a:moveTo>
                <a:lnTo>
                  <a:pt x="1986141" y="6317394"/>
                </a:lnTo>
                <a:lnTo>
                  <a:pt x="2025086" y="6317394"/>
                </a:lnTo>
                <a:lnTo>
                  <a:pt x="2096428" y="6137744"/>
                </a:lnTo>
                <a:lnTo>
                  <a:pt x="2051159" y="6137744"/>
                </a:lnTo>
                <a:lnTo>
                  <a:pt x="2006101" y="6266084"/>
                </a:lnTo>
                <a:lnTo>
                  <a:pt x="1960373" y="6137744"/>
                </a:lnTo>
                <a:close/>
                <a:moveTo>
                  <a:pt x="1825773" y="6133903"/>
                </a:moveTo>
                <a:cubicBezTo>
                  <a:pt x="1774543" y="6133903"/>
                  <a:pt x="1734730" y="6175047"/>
                  <a:pt x="1734730" y="6228829"/>
                </a:cubicBezTo>
                <a:cubicBezTo>
                  <a:pt x="1734730" y="6278464"/>
                  <a:pt x="1773933" y="6321236"/>
                  <a:pt x="1827569" y="6321236"/>
                </a:cubicBezTo>
                <a:cubicBezTo>
                  <a:pt x="1866748" y="6321236"/>
                  <a:pt x="1897092" y="6298737"/>
                  <a:pt x="1912593" y="6262278"/>
                </a:cubicBezTo>
                <a:lnTo>
                  <a:pt x="1869682" y="6262278"/>
                </a:lnTo>
                <a:cubicBezTo>
                  <a:pt x="1860013" y="6276719"/>
                  <a:pt x="1847059" y="6284531"/>
                  <a:pt x="1828285" y="6284531"/>
                </a:cubicBezTo>
                <a:cubicBezTo>
                  <a:pt x="1800323" y="6284531"/>
                  <a:pt x="1782030" y="6268134"/>
                  <a:pt x="1776479" y="6242860"/>
                </a:cubicBezTo>
                <a:lnTo>
                  <a:pt x="1916946" y="6242860"/>
                </a:lnTo>
                <a:cubicBezTo>
                  <a:pt x="1917932" y="6237227"/>
                  <a:pt x="1918366" y="6231512"/>
                  <a:pt x="1918225" y="6225795"/>
                </a:cubicBezTo>
                <a:cubicBezTo>
                  <a:pt x="1917791" y="6177518"/>
                  <a:pt x="1880677" y="6133903"/>
                  <a:pt x="1825773" y="6133903"/>
                </a:cubicBezTo>
                <a:close/>
                <a:moveTo>
                  <a:pt x="1437874" y="6133903"/>
                </a:moveTo>
                <a:cubicBezTo>
                  <a:pt x="1416061" y="6133903"/>
                  <a:pt x="1395186" y="6142101"/>
                  <a:pt x="1381716" y="6164038"/>
                </a:cubicBezTo>
                <a:lnTo>
                  <a:pt x="1381716" y="6137745"/>
                </a:lnTo>
                <a:lnTo>
                  <a:pt x="1342243" y="6137745"/>
                </a:lnTo>
                <a:lnTo>
                  <a:pt x="1342243" y="6317395"/>
                </a:lnTo>
                <a:lnTo>
                  <a:pt x="1384485" y="6317395"/>
                </a:lnTo>
                <a:lnTo>
                  <a:pt x="1384485" y="6222235"/>
                </a:lnTo>
                <a:cubicBezTo>
                  <a:pt x="1384377" y="6215587"/>
                  <a:pt x="1385042" y="6208949"/>
                  <a:pt x="1386468" y="6202453"/>
                </a:cubicBezTo>
                <a:cubicBezTo>
                  <a:pt x="1391326" y="6183082"/>
                  <a:pt x="1405160" y="6171826"/>
                  <a:pt x="1425519" y="6171826"/>
                </a:cubicBezTo>
                <a:cubicBezTo>
                  <a:pt x="1446558" y="6171826"/>
                  <a:pt x="1458679" y="6182367"/>
                  <a:pt x="1462574" y="6203343"/>
                </a:cubicBezTo>
                <a:cubicBezTo>
                  <a:pt x="1463564" y="6209579"/>
                  <a:pt x="1464027" y="6215887"/>
                  <a:pt x="1463959" y="6222200"/>
                </a:cubicBezTo>
                <a:lnTo>
                  <a:pt x="1463959" y="6317395"/>
                </a:lnTo>
                <a:lnTo>
                  <a:pt x="1506201" y="6317395"/>
                </a:lnTo>
                <a:lnTo>
                  <a:pt x="1506201" y="6211085"/>
                </a:lnTo>
                <a:cubicBezTo>
                  <a:pt x="1506201" y="6199150"/>
                  <a:pt x="1505028" y="6188375"/>
                  <a:pt x="1502212" y="6179170"/>
                </a:cubicBezTo>
                <a:cubicBezTo>
                  <a:pt x="1493024" y="6148637"/>
                  <a:pt x="1468523" y="6133903"/>
                  <a:pt x="1437874" y="6133903"/>
                </a:cubicBezTo>
                <a:close/>
                <a:moveTo>
                  <a:pt x="919998" y="6114613"/>
                </a:moveTo>
                <a:lnTo>
                  <a:pt x="952724" y="6201762"/>
                </a:lnTo>
                <a:cubicBezTo>
                  <a:pt x="918801" y="6217280"/>
                  <a:pt x="888621" y="6237167"/>
                  <a:pt x="863675" y="6259982"/>
                </a:cubicBezTo>
                <a:lnTo>
                  <a:pt x="863675" y="6259959"/>
                </a:lnTo>
                <a:close/>
                <a:moveTo>
                  <a:pt x="1581369" y="6104318"/>
                </a:moveTo>
                <a:lnTo>
                  <a:pt x="1620278" y="6104318"/>
                </a:lnTo>
                <a:cubicBezTo>
                  <a:pt x="1629149" y="6104318"/>
                  <a:pt x="1638583" y="6105490"/>
                  <a:pt x="1644637" y="6108324"/>
                </a:cubicBezTo>
                <a:cubicBezTo>
                  <a:pt x="1655199" y="6113184"/>
                  <a:pt x="1660890" y="6122261"/>
                  <a:pt x="1660890" y="6135894"/>
                </a:cubicBezTo>
                <a:cubicBezTo>
                  <a:pt x="1660890" y="6149527"/>
                  <a:pt x="1654823" y="6158967"/>
                  <a:pt x="1644062" y="6163804"/>
                </a:cubicBezTo>
                <a:cubicBezTo>
                  <a:pt x="1638677" y="6166216"/>
                  <a:pt x="1630815" y="6167493"/>
                  <a:pt x="1621769" y="6167493"/>
                </a:cubicBezTo>
                <a:lnTo>
                  <a:pt x="1581392" y="6167493"/>
                </a:lnTo>
                <a:close/>
                <a:moveTo>
                  <a:pt x="1098459" y="6104318"/>
                </a:moveTo>
                <a:lnTo>
                  <a:pt x="1135644" y="6104318"/>
                </a:lnTo>
                <a:cubicBezTo>
                  <a:pt x="1144139" y="6104318"/>
                  <a:pt x="1151262" y="6105279"/>
                  <a:pt x="1156143" y="6106871"/>
                </a:cubicBezTo>
                <a:cubicBezTo>
                  <a:pt x="1170224" y="6111474"/>
                  <a:pt x="1177980" y="6122097"/>
                  <a:pt x="1177980" y="6139220"/>
                </a:cubicBezTo>
                <a:cubicBezTo>
                  <a:pt x="1177980" y="6155078"/>
                  <a:pt x="1169978" y="6165502"/>
                  <a:pt x="1157281" y="6170292"/>
                </a:cubicBezTo>
                <a:cubicBezTo>
                  <a:pt x="1143841" y="6168099"/>
                  <a:pt x="1130242" y="6167033"/>
                  <a:pt x="1116623" y="6167106"/>
                </a:cubicBezTo>
                <a:cubicBezTo>
                  <a:pt x="1110968" y="6167106"/>
                  <a:pt x="1104749" y="6167188"/>
                  <a:pt x="1098459" y="6167387"/>
                </a:cubicBezTo>
                <a:close/>
                <a:moveTo>
                  <a:pt x="708600" y="6080273"/>
                </a:moveTo>
                <a:cubicBezTo>
                  <a:pt x="650031" y="6107486"/>
                  <a:pt x="611463" y="6164927"/>
                  <a:pt x="608510" y="6229343"/>
                </a:cubicBezTo>
                <a:cubicBezTo>
                  <a:pt x="606585" y="6269810"/>
                  <a:pt x="618997" y="6309663"/>
                  <a:pt x="643571" y="6341907"/>
                </a:cubicBezTo>
                <a:cubicBezTo>
                  <a:pt x="725244" y="6322452"/>
                  <a:pt x="775653" y="6240596"/>
                  <a:pt x="756163" y="6159075"/>
                </a:cubicBezTo>
                <a:cubicBezTo>
                  <a:pt x="748860" y="6128528"/>
                  <a:pt x="732241" y="6100995"/>
                  <a:pt x="708600" y="6080273"/>
                </a:cubicBezTo>
                <a:close/>
                <a:moveTo>
                  <a:pt x="1538047" y="6064650"/>
                </a:moveTo>
                <a:lnTo>
                  <a:pt x="1538047" y="6317394"/>
                </a:lnTo>
                <a:lnTo>
                  <a:pt x="1627694" y="6317394"/>
                </a:lnTo>
                <a:cubicBezTo>
                  <a:pt x="1645166" y="6317394"/>
                  <a:pt x="1656876" y="6315731"/>
                  <a:pt x="1668352" y="6311691"/>
                </a:cubicBezTo>
                <a:cubicBezTo>
                  <a:pt x="1698391" y="6301150"/>
                  <a:pt x="1719101" y="6277831"/>
                  <a:pt x="1719101" y="6243668"/>
                </a:cubicBezTo>
                <a:cubicBezTo>
                  <a:pt x="1719101" y="6215149"/>
                  <a:pt x="1705525" y="6194875"/>
                  <a:pt x="1679934" y="6182309"/>
                </a:cubicBezTo>
                <a:cubicBezTo>
                  <a:pt x="1697064" y="6169179"/>
                  <a:pt x="1704270" y="6154118"/>
                  <a:pt x="1704270" y="6132603"/>
                </a:cubicBezTo>
                <a:cubicBezTo>
                  <a:pt x="1704270" y="6100395"/>
                  <a:pt x="1684322" y="6076257"/>
                  <a:pt x="1653814" y="6068023"/>
                </a:cubicBezTo>
                <a:cubicBezTo>
                  <a:pt x="1645904" y="6065903"/>
                  <a:pt x="1633057" y="6064650"/>
                  <a:pt x="1618095" y="6064650"/>
                </a:cubicBezTo>
                <a:close/>
                <a:moveTo>
                  <a:pt x="1261795" y="6064650"/>
                </a:moveTo>
                <a:lnTo>
                  <a:pt x="1261795" y="6317394"/>
                </a:lnTo>
                <a:lnTo>
                  <a:pt x="1305610" y="6317394"/>
                </a:lnTo>
                <a:lnTo>
                  <a:pt x="1305610" y="6064650"/>
                </a:lnTo>
                <a:close/>
                <a:moveTo>
                  <a:pt x="900344" y="6064638"/>
                </a:moveTo>
                <a:lnTo>
                  <a:pt x="797003" y="6317394"/>
                </a:lnTo>
                <a:lnTo>
                  <a:pt x="839163" y="6317394"/>
                </a:lnTo>
                <a:cubicBezTo>
                  <a:pt x="875609" y="6278944"/>
                  <a:pt x="919106" y="6251350"/>
                  <a:pt x="964399" y="6233068"/>
                </a:cubicBezTo>
                <a:lnTo>
                  <a:pt x="996081" y="6317394"/>
                </a:lnTo>
                <a:lnTo>
                  <a:pt x="1043896" y="6317394"/>
                </a:lnTo>
                <a:lnTo>
                  <a:pt x="1003872" y="6219470"/>
                </a:lnTo>
                <a:cubicBezTo>
                  <a:pt x="1020688" y="6214697"/>
                  <a:pt x="1037802" y="6211039"/>
                  <a:pt x="1055102" y="6208520"/>
                </a:cubicBezTo>
                <a:lnTo>
                  <a:pt x="1055102" y="6317359"/>
                </a:lnTo>
                <a:lnTo>
                  <a:pt x="1076857" y="6317359"/>
                </a:lnTo>
                <a:lnTo>
                  <a:pt x="1153268" y="6317359"/>
                </a:lnTo>
                <a:cubicBezTo>
                  <a:pt x="1207244" y="6317359"/>
                  <a:pt x="1236227" y="6285737"/>
                  <a:pt x="1236227" y="6243574"/>
                </a:cubicBezTo>
                <a:cubicBezTo>
                  <a:pt x="1236227" y="6218112"/>
                  <a:pt x="1223543" y="6196386"/>
                  <a:pt x="1196614" y="6182660"/>
                </a:cubicBezTo>
                <a:cubicBezTo>
                  <a:pt x="1214872" y="6169331"/>
                  <a:pt x="1221325" y="6149409"/>
                  <a:pt x="1221325" y="6132603"/>
                </a:cubicBezTo>
                <a:cubicBezTo>
                  <a:pt x="1221325" y="6100395"/>
                  <a:pt x="1201377" y="6076256"/>
                  <a:pt x="1170869" y="6068023"/>
                </a:cubicBezTo>
                <a:cubicBezTo>
                  <a:pt x="1162961" y="6065903"/>
                  <a:pt x="1150112" y="6064650"/>
                  <a:pt x="1135151" y="6064650"/>
                </a:cubicBezTo>
                <a:lnTo>
                  <a:pt x="1055102" y="6064650"/>
                </a:lnTo>
                <a:lnTo>
                  <a:pt x="1055102" y="6171299"/>
                </a:lnTo>
                <a:cubicBezTo>
                  <a:pt x="1033182" y="6174617"/>
                  <a:pt x="1011591" y="6179817"/>
                  <a:pt x="990566" y="6186841"/>
                </a:cubicBezTo>
                <a:lnTo>
                  <a:pt x="940556" y="6064638"/>
                </a:lnTo>
                <a:close/>
                <a:moveTo>
                  <a:pt x="634747" y="6044962"/>
                </a:moveTo>
                <a:cubicBezTo>
                  <a:pt x="552104" y="6030388"/>
                  <a:pt x="473274" y="6085443"/>
                  <a:pt x="458673" y="6167931"/>
                </a:cubicBezTo>
                <a:cubicBezTo>
                  <a:pt x="457891" y="6172348"/>
                  <a:pt x="457306" y="6176797"/>
                  <a:pt x="456919" y="6181266"/>
                </a:cubicBezTo>
                <a:cubicBezTo>
                  <a:pt x="469009" y="6183023"/>
                  <a:pt x="481263" y="6183377"/>
                  <a:pt x="493435" y="6182320"/>
                </a:cubicBezTo>
                <a:cubicBezTo>
                  <a:pt x="569307" y="6175714"/>
                  <a:pt x="627706" y="6116709"/>
                  <a:pt x="634747" y="6044962"/>
                </a:cubicBezTo>
                <a:close/>
                <a:moveTo>
                  <a:pt x="315913" y="323850"/>
                </a:moveTo>
                <a:lnTo>
                  <a:pt x="315913" y="457200"/>
                </a:lnTo>
                <a:lnTo>
                  <a:pt x="11876087" y="457200"/>
                </a:lnTo>
                <a:lnTo>
                  <a:pt x="11876087" y="323850"/>
                </a:lnTo>
                <a:close/>
                <a:moveTo>
                  <a:pt x="0" y="0"/>
                </a:moveTo>
                <a:lnTo>
                  <a:pt x="12191999" y="0"/>
                </a:lnTo>
                <a:lnTo>
                  <a:pt x="12191999" y="6857999"/>
                </a:lnTo>
                <a:lnTo>
                  <a:pt x="0" y="6857999"/>
                </a:lnTo>
                <a:close/>
              </a:path>
            </a:pathLst>
          </a:custGeom>
          <a:pattFill prst="pct25">
            <a:fgClr>
              <a:schemeClr val="tx1"/>
            </a:fgClr>
            <a:bgClr>
              <a:schemeClr val="bg1"/>
            </a:bgClr>
          </a:pattFill>
        </p:spPr>
        <p:txBody>
          <a:bodyPr wrap="square" anchor="ctr">
            <a:noAutofit/>
          </a:bodyPr>
          <a:lstStyle>
            <a:lvl1pPr>
              <a:spcAft>
                <a:spcPts val="0"/>
              </a:spcAft>
              <a:defRPr sz="1200"/>
            </a:lvl1pPr>
          </a:lstStyle>
          <a:p>
            <a:r>
              <a:rPr lang="en-US"/>
              <a:t>                                                                                                                                                                                    Insert background image here</a:t>
            </a:r>
          </a:p>
        </p:txBody>
      </p:sp>
      <p:sp>
        <p:nvSpPr>
          <p:cNvPr id="17" name="Text Placeholder 2">
            <a:extLst>
              <a:ext uri="{FF2B5EF4-FFF2-40B4-BE49-F238E27FC236}">
                <a16:creationId xmlns:a16="http://schemas.microsoft.com/office/drawing/2014/main" id="{4AC4C0E9-5609-654C-BB62-B010DDB05D75}"/>
              </a:ext>
            </a:extLst>
          </p:cNvPr>
          <p:cNvSpPr>
            <a:spLocks noGrp="1"/>
          </p:cNvSpPr>
          <p:nvPr>
            <p:ph type="body" sz="quarter" idx="12" hasCustomPrompt="1"/>
          </p:nvPr>
        </p:nvSpPr>
        <p:spPr>
          <a:xfrm>
            <a:off x="315913" y="2105460"/>
            <a:ext cx="1220524" cy="877915"/>
          </a:xfrm>
        </p:spPr>
        <p:txBody>
          <a:bodyPr rIns="0" anchor="b"/>
          <a:lstStyle>
            <a:lvl1pPr marL="0" indent="0" algn="l" defTabSz="914400" rtl="0" eaLnBrk="1" latinLnBrk="0" hangingPunct="1">
              <a:lnSpc>
                <a:spcPct val="90000"/>
              </a:lnSpc>
              <a:spcBef>
                <a:spcPts val="1000"/>
              </a:spcBef>
              <a:buFont typeface="Arial" panose="020B0604020202020204" pitchFamily="34" charset="0"/>
              <a:buNone/>
              <a:defRPr lang="en-US" sz="6000" b="1" kern="1200" spc="-300" dirty="0">
                <a:solidFill>
                  <a:schemeClr val="accent2"/>
                </a:solidFill>
                <a:latin typeface="+mn-lt"/>
                <a:ea typeface="+mn-ea"/>
                <a:cs typeface="+mn-cs"/>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0#</a:t>
            </a:r>
          </a:p>
        </p:txBody>
      </p:sp>
      <p:sp>
        <p:nvSpPr>
          <p:cNvPr id="18" name="Text Placeholder 3">
            <a:extLst>
              <a:ext uri="{FF2B5EF4-FFF2-40B4-BE49-F238E27FC236}">
                <a16:creationId xmlns:a16="http://schemas.microsoft.com/office/drawing/2014/main" id="{65991922-1466-5740-AA74-D6B8D25859B7}"/>
              </a:ext>
            </a:extLst>
          </p:cNvPr>
          <p:cNvSpPr>
            <a:spLocks noGrp="1"/>
          </p:cNvSpPr>
          <p:nvPr>
            <p:ph type="body" sz="quarter" idx="10" hasCustomPrompt="1"/>
          </p:nvPr>
        </p:nvSpPr>
        <p:spPr>
          <a:xfrm>
            <a:off x="315913" y="3147153"/>
            <a:ext cx="5780087" cy="1400993"/>
          </a:xfrm>
        </p:spPr>
        <p:txBody>
          <a:bodyPr rIns="0" anchor="t"/>
          <a:lstStyle>
            <a:lvl1pPr algn="l">
              <a:lnSpc>
                <a:spcPct val="90000"/>
              </a:lnSpc>
              <a:spcAft>
                <a:spcPts val="0"/>
              </a:spcAft>
              <a:defRPr lang="en-US" sz="5000" b="0" i="0" kern="1200" dirty="0">
                <a:solidFill>
                  <a:schemeClr val="bg1"/>
                </a:solidFill>
                <a:latin typeface="Arial"/>
                <a:ea typeface="+mj-ea"/>
                <a:cs typeface="Arial"/>
              </a:defRPr>
            </a:lvl1pPr>
          </a:lstStyle>
          <a:p>
            <a:pPr lvl="0"/>
            <a:r>
              <a:rPr lang="en-US"/>
              <a:t>One or Two Line Section Title</a:t>
            </a:r>
          </a:p>
        </p:txBody>
      </p:sp>
      <p:pic>
        <p:nvPicPr>
          <p:cNvPr id="46" name="Graphic 45">
            <a:extLst>
              <a:ext uri="{FF2B5EF4-FFF2-40B4-BE49-F238E27FC236}">
                <a16:creationId xmlns:a16="http://schemas.microsoft.com/office/drawing/2014/main" id="{746E0120-84AF-1C4B-BB04-2033DC9D81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042624"/>
            <a:ext cx="1639229" cy="302169"/>
          </a:xfrm>
          <a:prstGeom prst="rect">
            <a:avLst/>
          </a:prstGeom>
        </p:spPr>
      </p:pic>
    </p:spTree>
    <p:extLst>
      <p:ext uri="{BB962C8B-B14F-4D97-AF65-F5344CB8AC3E}">
        <p14:creationId xmlns:p14="http://schemas.microsoft.com/office/powerpoint/2010/main" val="20478063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Divider Photo 2">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E7BA2C71-2B9F-4E49-BDAF-27ED64AC9934}"/>
              </a:ext>
            </a:extLst>
          </p:cNvPr>
          <p:cNvSpPr/>
          <p:nvPr userDrawn="1"/>
        </p:nvSpPr>
        <p:spPr>
          <a:xfrm>
            <a:off x="315912" y="323183"/>
            <a:ext cx="11560175"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Picture Placeholder 25">
            <a:extLst>
              <a:ext uri="{FF2B5EF4-FFF2-40B4-BE49-F238E27FC236}">
                <a16:creationId xmlns:a16="http://schemas.microsoft.com/office/drawing/2014/main" id="{A081A7CD-1F8B-6A48-B6CF-5C1734C84375}"/>
              </a:ext>
            </a:extLst>
          </p:cNvPr>
          <p:cNvSpPr>
            <a:spLocks noGrp="1"/>
          </p:cNvSpPr>
          <p:nvPr>
            <p:ph type="pic" sz="quarter" idx="13" hasCustomPrompt="1"/>
          </p:nvPr>
        </p:nvSpPr>
        <p:spPr>
          <a:xfrm>
            <a:off x="2" y="2"/>
            <a:ext cx="12191999" cy="6857999"/>
          </a:xfrm>
          <a:custGeom>
            <a:avLst/>
            <a:gdLst>
              <a:gd name="connsiteX0" fmla="*/ 458949 w 12191999"/>
              <a:gd name="connsiteY0" fmla="*/ 6222152 h 6857999"/>
              <a:gd name="connsiteX1" fmla="*/ 585042 w 12191999"/>
              <a:gd name="connsiteY1" fmla="*/ 6344203 h 6857999"/>
              <a:gd name="connsiteX2" fmla="*/ 487955 w 12191999"/>
              <a:gd name="connsiteY2" fmla="*/ 6229765 h 6857999"/>
              <a:gd name="connsiteX3" fmla="*/ 458949 w 12191999"/>
              <a:gd name="connsiteY3" fmla="*/ 6222152 h 6857999"/>
              <a:gd name="connsiteX4" fmla="*/ 1581392 w 12191999"/>
              <a:gd name="connsiteY4" fmla="*/ 6206459 h 6857999"/>
              <a:gd name="connsiteX5" fmla="*/ 1633573 w 12191999"/>
              <a:gd name="connsiteY5" fmla="*/ 6206459 h 6857999"/>
              <a:gd name="connsiteX6" fmla="*/ 1647383 w 12191999"/>
              <a:gd name="connsiteY6" fmla="*/ 6207770 h 6857999"/>
              <a:gd name="connsiteX7" fmla="*/ 1675755 w 12191999"/>
              <a:gd name="connsiteY7" fmla="*/ 6242040 h 6857999"/>
              <a:gd name="connsiteX8" fmla="*/ 1647054 w 12191999"/>
              <a:gd name="connsiteY8" fmla="*/ 6276239 h 6857999"/>
              <a:gd name="connsiteX9" fmla="*/ 1647079 w 12191999"/>
              <a:gd name="connsiteY9" fmla="*/ 6276239 h 6857999"/>
              <a:gd name="connsiteX10" fmla="*/ 1629924 w 12191999"/>
              <a:gd name="connsiteY10" fmla="*/ 6277726 h 6857999"/>
              <a:gd name="connsiteX11" fmla="*/ 1581392 w 12191999"/>
              <a:gd name="connsiteY11" fmla="*/ 6277726 h 6857999"/>
              <a:gd name="connsiteX12" fmla="*/ 1117820 w 12191999"/>
              <a:gd name="connsiteY12" fmla="*/ 6204690 h 6857999"/>
              <a:gd name="connsiteX13" fmla="*/ 1192835 w 12191999"/>
              <a:gd name="connsiteY13" fmla="*/ 6243597 h 6857999"/>
              <a:gd name="connsiteX14" fmla="*/ 1150605 w 12191999"/>
              <a:gd name="connsiteY14" fmla="*/ 6277691 h 6857999"/>
              <a:gd name="connsiteX15" fmla="*/ 1150605 w 12191999"/>
              <a:gd name="connsiteY15" fmla="*/ 6277655 h 6857999"/>
              <a:gd name="connsiteX16" fmla="*/ 1098459 w 12191999"/>
              <a:gd name="connsiteY16" fmla="*/ 6277655 h 6857999"/>
              <a:gd name="connsiteX17" fmla="*/ 1098459 w 12191999"/>
              <a:gd name="connsiteY17" fmla="*/ 6205041 h 6857999"/>
              <a:gd name="connsiteX18" fmla="*/ 1117820 w 12191999"/>
              <a:gd name="connsiteY18" fmla="*/ 6204690 h 6857999"/>
              <a:gd name="connsiteX19" fmla="*/ 1826161 w 12191999"/>
              <a:gd name="connsiteY19" fmla="*/ 6170585 h 6857999"/>
              <a:gd name="connsiteX20" fmla="*/ 1876358 w 12191999"/>
              <a:gd name="connsiteY20" fmla="*/ 6213439 h 6857999"/>
              <a:gd name="connsiteX21" fmla="*/ 1776608 w 12191999"/>
              <a:gd name="connsiteY21" fmla="*/ 6213439 h 6857999"/>
              <a:gd name="connsiteX22" fmla="*/ 1826161 w 12191999"/>
              <a:gd name="connsiteY22" fmla="*/ 6170585 h 6857999"/>
              <a:gd name="connsiteX23" fmla="*/ 1914658 w 12191999"/>
              <a:gd name="connsiteY23" fmla="*/ 6137744 h 6857999"/>
              <a:gd name="connsiteX24" fmla="*/ 1986141 w 12191999"/>
              <a:gd name="connsiteY24" fmla="*/ 6317394 h 6857999"/>
              <a:gd name="connsiteX25" fmla="*/ 2025086 w 12191999"/>
              <a:gd name="connsiteY25" fmla="*/ 6317394 h 6857999"/>
              <a:gd name="connsiteX26" fmla="*/ 2096428 w 12191999"/>
              <a:gd name="connsiteY26" fmla="*/ 6137744 h 6857999"/>
              <a:gd name="connsiteX27" fmla="*/ 2051159 w 12191999"/>
              <a:gd name="connsiteY27" fmla="*/ 6137744 h 6857999"/>
              <a:gd name="connsiteX28" fmla="*/ 2006101 w 12191999"/>
              <a:gd name="connsiteY28" fmla="*/ 6266084 h 6857999"/>
              <a:gd name="connsiteX29" fmla="*/ 1960373 w 12191999"/>
              <a:gd name="connsiteY29" fmla="*/ 6137744 h 6857999"/>
              <a:gd name="connsiteX30" fmla="*/ 1825773 w 12191999"/>
              <a:gd name="connsiteY30" fmla="*/ 6133903 h 6857999"/>
              <a:gd name="connsiteX31" fmla="*/ 1734730 w 12191999"/>
              <a:gd name="connsiteY31" fmla="*/ 6228829 h 6857999"/>
              <a:gd name="connsiteX32" fmla="*/ 1827569 w 12191999"/>
              <a:gd name="connsiteY32" fmla="*/ 6321236 h 6857999"/>
              <a:gd name="connsiteX33" fmla="*/ 1912593 w 12191999"/>
              <a:gd name="connsiteY33" fmla="*/ 6262278 h 6857999"/>
              <a:gd name="connsiteX34" fmla="*/ 1869682 w 12191999"/>
              <a:gd name="connsiteY34" fmla="*/ 6262278 h 6857999"/>
              <a:gd name="connsiteX35" fmla="*/ 1828285 w 12191999"/>
              <a:gd name="connsiteY35" fmla="*/ 6284531 h 6857999"/>
              <a:gd name="connsiteX36" fmla="*/ 1776479 w 12191999"/>
              <a:gd name="connsiteY36" fmla="*/ 6242860 h 6857999"/>
              <a:gd name="connsiteX37" fmla="*/ 1916946 w 12191999"/>
              <a:gd name="connsiteY37" fmla="*/ 6242860 h 6857999"/>
              <a:gd name="connsiteX38" fmla="*/ 1918225 w 12191999"/>
              <a:gd name="connsiteY38" fmla="*/ 6225795 h 6857999"/>
              <a:gd name="connsiteX39" fmla="*/ 1825773 w 12191999"/>
              <a:gd name="connsiteY39" fmla="*/ 6133903 h 6857999"/>
              <a:gd name="connsiteX40" fmla="*/ 1437874 w 12191999"/>
              <a:gd name="connsiteY40" fmla="*/ 6133903 h 6857999"/>
              <a:gd name="connsiteX41" fmla="*/ 1381716 w 12191999"/>
              <a:gd name="connsiteY41" fmla="*/ 6164038 h 6857999"/>
              <a:gd name="connsiteX42" fmla="*/ 1381716 w 12191999"/>
              <a:gd name="connsiteY42" fmla="*/ 6137745 h 6857999"/>
              <a:gd name="connsiteX43" fmla="*/ 1342243 w 12191999"/>
              <a:gd name="connsiteY43" fmla="*/ 6137745 h 6857999"/>
              <a:gd name="connsiteX44" fmla="*/ 1342243 w 12191999"/>
              <a:gd name="connsiteY44" fmla="*/ 6317395 h 6857999"/>
              <a:gd name="connsiteX45" fmla="*/ 1384485 w 12191999"/>
              <a:gd name="connsiteY45" fmla="*/ 6317395 h 6857999"/>
              <a:gd name="connsiteX46" fmla="*/ 1384485 w 12191999"/>
              <a:gd name="connsiteY46" fmla="*/ 6222235 h 6857999"/>
              <a:gd name="connsiteX47" fmla="*/ 1386468 w 12191999"/>
              <a:gd name="connsiteY47" fmla="*/ 6202453 h 6857999"/>
              <a:gd name="connsiteX48" fmla="*/ 1425519 w 12191999"/>
              <a:gd name="connsiteY48" fmla="*/ 6171826 h 6857999"/>
              <a:gd name="connsiteX49" fmla="*/ 1462574 w 12191999"/>
              <a:gd name="connsiteY49" fmla="*/ 6203343 h 6857999"/>
              <a:gd name="connsiteX50" fmla="*/ 1463959 w 12191999"/>
              <a:gd name="connsiteY50" fmla="*/ 6222200 h 6857999"/>
              <a:gd name="connsiteX51" fmla="*/ 1463959 w 12191999"/>
              <a:gd name="connsiteY51" fmla="*/ 6317395 h 6857999"/>
              <a:gd name="connsiteX52" fmla="*/ 1506201 w 12191999"/>
              <a:gd name="connsiteY52" fmla="*/ 6317395 h 6857999"/>
              <a:gd name="connsiteX53" fmla="*/ 1506201 w 12191999"/>
              <a:gd name="connsiteY53" fmla="*/ 6211085 h 6857999"/>
              <a:gd name="connsiteX54" fmla="*/ 1502212 w 12191999"/>
              <a:gd name="connsiteY54" fmla="*/ 6179170 h 6857999"/>
              <a:gd name="connsiteX55" fmla="*/ 1437874 w 12191999"/>
              <a:gd name="connsiteY55" fmla="*/ 6133903 h 6857999"/>
              <a:gd name="connsiteX56" fmla="*/ 919998 w 12191999"/>
              <a:gd name="connsiteY56" fmla="*/ 6114613 h 6857999"/>
              <a:gd name="connsiteX57" fmla="*/ 952724 w 12191999"/>
              <a:gd name="connsiteY57" fmla="*/ 6201762 h 6857999"/>
              <a:gd name="connsiteX58" fmla="*/ 863675 w 12191999"/>
              <a:gd name="connsiteY58" fmla="*/ 6259982 h 6857999"/>
              <a:gd name="connsiteX59" fmla="*/ 863675 w 12191999"/>
              <a:gd name="connsiteY59" fmla="*/ 6259959 h 6857999"/>
              <a:gd name="connsiteX60" fmla="*/ 1581369 w 12191999"/>
              <a:gd name="connsiteY60" fmla="*/ 6104318 h 6857999"/>
              <a:gd name="connsiteX61" fmla="*/ 1620278 w 12191999"/>
              <a:gd name="connsiteY61" fmla="*/ 6104318 h 6857999"/>
              <a:gd name="connsiteX62" fmla="*/ 1644637 w 12191999"/>
              <a:gd name="connsiteY62" fmla="*/ 6108324 h 6857999"/>
              <a:gd name="connsiteX63" fmla="*/ 1660890 w 12191999"/>
              <a:gd name="connsiteY63" fmla="*/ 6135894 h 6857999"/>
              <a:gd name="connsiteX64" fmla="*/ 1644062 w 12191999"/>
              <a:gd name="connsiteY64" fmla="*/ 6163804 h 6857999"/>
              <a:gd name="connsiteX65" fmla="*/ 1621769 w 12191999"/>
              <a:gd name="connsiteY65" fmla="*/ 6167493 h 6857999"/>
              <a:gd name="connsiteX66" fmla="*/ 1581392 w 12191999"/>
              <a:gd name="connsiteY66" fmla="*/ 6167493 h 6857999"/>
              <a:gd name="connsiteX67" fmla="*/ 1098459 w 12191999"/>
              <a:gd name="connsiteY67" fmla="*/ 6104318 h 6857999"/>
              <a:gd name="connsiteX68" fmla="*/ 1135644 w 12191999"/>
              <a:gd name="connsiteY68" fmla="*/ 6104318 h 6857999"/>
              <a:gd name="connsiteX69" fmla="*/ 1156143 w 12191999"/>
              <a:gd name="connsiteY69" fmla="*/ 6106871 h 6857999"/>
              <a:gd name="connsiteX70" fmla="*/ 1177980 w 12191999"/>
              <a:gd name="connsiteY70" fmla="*/ 6139220 h 6857999"/>
              <a:gd name="connsiteX71" fmla="*/ 1157281 w 12191999"/>
              <a:gd name="connsiteY71" fmla="*/ 6170292 h 6857999"/>
              <a:gd name="connsiteX72" fmla="*/ 1116623 w 12191999"/>
              <a:gd name="connsiteY72" fmla="*/ 6167106 h 6857999"/>
              <a:gd name="connsiteX73" fmla="*/ 1098459 w 12191999"/>
              <a:gd name="connsiteY73" fmla="*/ 6167387 h 6857999"/>
              <a:gd name="connsiteX74" fmla="*/ 708600 w 12191999"/>
              <a:gd name="connsiteY74" fmla="*/ 6080273 h 6857999"/>
              <a:gd name="connsiteX75" fmla="*/ 608510 w 12191999"/>
              <a:gd name="connsiteY75" fmla="*/ 6229343 h 6857999"/>
              <a:gd name="connsiteX76" fmla="*/ 643571 w 12191999"/>
              <a:gd name="connsiteY76" fmla="*/ 6341907 h 6857999"/>
              <a:gd name="connsiteX77" fmla="*/ 756163 w 12191999"/>
              <a:gd name="connsiteY77" fmla="*/ 6159075 h 6857999"/>
              <a:gd name="connsiteX78" fmla="*/ 708600 w 12191999"/>
              <a:gd name="connsiteY78" fmla="*/ 6080273 h 6857999"/>
              <a:gd name="connsiteX79" fmla="*/ 1538047 w 12191999"/>
              <a:gd name="connsiteY79" fmla="*/ 6064650 h 6857999"/>
              <a:gd name="connsiteX80" fmla="*/ 1538047 w 12191999"/>
              <a:gd name="connsiteY80" fmla="*/ 6317394 h 6857999"/>
              <a:gd name="connsiteX81" fmla="*/ 1627694 w 12191999"/>
              <a:gd name="connsiteY81" fmla="*/ 6317394 h 6857999"/>
              <a:gd name="connsiteX82" fmla="*/ 1668352 w 12191999"/>
              <a:gd name="connsiteY82" fmla="*/ 6311691 h 6857999"/>
              <a:gd name="connsiteX83" fmla="*/ 1719101 w 12191999"/>
              <a:gd name="connsiteY83" fmla="*/ 6243668 h 6857999"/>
              <a:gd name="connsiteX84" fmla="*/ 1679934 w 12191999"/>
              <a:gd name="connsiteY84" fmla="*/ 6182309 h 6857999"/>
              <a:gd name="connsiteX85" fmla="*/ 1704270 w 12191999"/>
              <a:gd name="connsiteY85" fmla="*/ 6132603 h 6857999"/>
              <a:gd name="connsiteX86" fmla="*/ 1653814 w 12191999"/>
              <a:gd name="connsiteY86" fmla="*/ 6068023 h 6857999"/>
              <a:gd name="connsiteX87" fmla="*/ 1618095 w 12191999"/>
              <a:gd name="connsiteY87" fmla="*/ 6064650 h 6857999"/>
              <a:gd name="connsiteX88" fmla="*/ 1261795 w 12191999"/>
              <a:gd name="connsiteY88" fmla="*/ 6064650 h 6857999"/>
              <a:gd name="connsiteX89" fmla="*/ 1261795 w 12191999"/>
              <a:gd name="connsiteY89" fmla="*/ 6317394 h 6857999"/>
              <a:gd name="connsiteX90" fmla="*/ 1305610 w 12191999"/>
              <a:gd name="connsiteY90" fmla="*/ 6317394 h 6857999"/>
              <a:gd name="connsiteX91" fmla="*/ 1305610 w 12191999"/>
              <a:gd name="connsiteY91" fmla="*/ 6064650 h 6857999"/>
              <a:gd name="connsiteX92" fmla="*/ 900344 w 12191999"/>
              <a:gd name="connsiteY92" fmla="*/ 6064638 h 6857999"/>
              <a:gd name="connsiteX93" fmla="*/ 797003 w 12191999"/>
              <a:gd name="connsiteY93" fmla="*/ 6317394 h 6857999"/>
              <a:gd name="connsiteX94" fmla="*/ 839163 w 12191999"/>
              <a:gd name="connsiteY94" fmla="*/ 6317394 h 6857999"/>
              <a:gd name="connsiteX95" fmla="*/ 964399 w 12191999"/>
              <a:gd name="connsiteY95" fmla="*/ 6233068 h 6857999"/>
              <a:gd name="connsiteX96" fmla="*/ 996081 w 12191999"/>
              <a:gd name="connsiteY96" fmla="*/ 6317394 h 6857999"/>
              <a:gd name="connsiteX97" fmla="*/ 1043896 w 12191999"/>
              <a:gd name="connsiteY97" fmla="*/ 6317394 h 6857999"/>
              <a:gd name="connsiteX98" fmla="*/ 1003872 w 12191999"/>
              <a:gd name="connsiteY98" fmla="*/ 6219470 h 6857999"/>
              <a:gd name="connsiteX99" fmla="*/ 1055102 w 12191999"/>
              <a:gd name="connsiteY99" fmla="*/ 6208520 h 6857999"/>
              <a:gd name="connsiteX100" fmla="*/ 1055102 w 12191999"/>
              <a:gd name="connsiteY100" fmla="*/ 6317359 h 6857999"/>
              <a:gd name="connsiteX101" fmla="*/ 1076857 w 12191999"/>
              <a:gd name="connsiteY101" fmla="*/ 6317359 h 6857999"/>
              <a:gd name="connsiteX102" fmla="*/ 1153268 w 12191999"/>
              <a:gd name="connsiteY102" fmla="*/ 6317359 h 6857999"/>
              <a:gd name="connsiteX103" fmla="*/ 1236227 w 12191999"/>
              <a:gd name="connsiteY103" fmla="*/ 6243574 h 6857999"/>
              <a:gd name="connsiteX104" fmla="*/ 1196614 w 12191999"/>
              <a:gd name="connsiteY104" fmla="*/ 6182660 h 6857999"/>
              <a:gd name="connsiteX105" fmla="*/ 1221325 w 12191999"/>
              <a:gd name="connsiteY105" fmla="*/ 6132603 h 6857999"/>
              <a:gd name="connsiteX106" fmla="*/ 1170869 w 12191999"/>
              <a:gd name="connsiteY106" fmla="*/ 6068023 h 6857999"/>
              <a:gd name="connsiteX107" fmla="*/ 1135151 w 12191999"/>
              <a:gd name="connsiteY107" fmla="*/ 6064650 h 6857999"/>
              <a:gd name="connsiteX108" fmla="*/ 1055102 w 12191999"/>
              <a:gd name="connsiteY108" fmla="*/ 6064650 h 6857999"/>
              <a:gd name="connsiteX109" fmla="*/ 1055102 w 12191999"/>
              <a:gd name="connsiteY109" fmla="*/ 6171299 h 6857999"/>
              <a:gd name="connsiteX110" fmla="*/ 990566 w 12191999"/>
              <a:gd name="connsiteY110" fmla="*/ 6186841 h 6857999"/>
              <a:gd name="connsiteX111" fmla="*/ 940556 w 12191999"/>
              <a:gd name="connsiteY111" fmla="*/ 6064638 h 6857999"/>
              <a:gd name="connsiteX112" fmla="*/ 634747 w 12191999"/>
              <a:gd name="connsiteY112" fmla="*/ 6044962 h 6857999"/>
              <a:gd name="connsiteX113" fmla="*/ 458673 w 12191999"/>
              <a:gd name="connsiteY113" fmla="*/ 6167931 h 6857999"/>
              <a:gd name="connsiteX114" fmla="*/ 456919 w 12191999"/>
              <a:gd name="connsiteY114" fmla="*/ 6181266 h 6857999"/>
              <a:gd name="connsiteX115" fmla="*/ 493435 w 12191999"/>
              <a:gd name="connsiteY115" fmla="*/ 6182320 h 6857999"/>
              <a:gd name="connsiteX116" fmla="*/ 634747 w 12191999"/>
              <a:gd name="connsiteY116" fmla="*/ 6044962 h 6857999"/>
              <a:gd name="connsiteX117" fmla="*/ 315913 w 12191999"/>
              <a:gd name="connsiteY117" fmla="*/ 323850 h 6857999"/>
              <a:gd name="connsiteX118" fmla="*/ 315913 w 12191999"/>
              <a:gd name="connsiteY118" fmla="*/ 457200 h 6857999"/>
              <a:gd name="connsiteX119" fmla="*/ 11876087 w 12191999"/>
              <a:gd name="connsiteY119" fmla="*/ 457200 h 6857999"/>
              <a:gd name="connsiteX120" fmla="*/ 11876087 w 12191999"/>
              <a:gd name="connsiteY120" fmla="*/ 323850 h 6857999"/>
              <a:gd name="connsiteX121" fmla="*/ 0 w 12191999"/>
              <a:gd name="connsiteY121" fmla="*/ 0 h 6857999"/>
              <a:gd name="connsiteX122" fmla="*/ 12191999 w 12191999"/>
              <a:gd name="connsiteY122" fmla="*/ 0 h 6857999"/>
              <a:gd name="connsiteX123" fmla="*/ 12191999 w 12191999"/>
              <a:gd name="connsiteY123" fmla="*/ 6857999 h 6857999"/>
              <a:gd name="connsiteX124" fmla="*/ 0 w 12191999"/>
              <a:gd name="connsiteY12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12191999" h="6857999">
                <a:moveTo>
                  <a:pt x="458949" y="6222152"/>
                </a:moveTo>
                <a:cubicBezTo>
                  <a:pt x="470763" y="6285426"/>
                  <a:pt x="521316" y="6334359"/>
                  <a:pt x="585042" y="6344203"/>
                </a:cubicBezTo>
                <a:cubicBezTo>
                  <a:pt x="583411" y="6297437"/>
                  <a:pt x="545440" y="6250331"/>
                  <a:pt x="487955" y="6229765"/>
                </a:cubicBezTo>
                <a:cubicBezTo>
                  <a:pt x="478527" y="6226388"/>
                  <a:pt x="468821" y="6223841"/>
                  <a:pt x="458949" y="6222152"/>
                </a:cubicBezTo>
                <a:close/>
                <a:moveTo>
                  <a:pt x="1581392" y="6206459"/>
                </a:moveTo>
                <a:lnTo>
                  <a:pt x="1633573" y="6206459"/>
                </a:lnTo>
                <a:cubicBezTo>
                  <a:pt x="1638208" y="6206433"/>
                  <a:pt x="1642831" y="6206873"/>
                  <a:pt x="1647383" y="6207770"/>
                </a:cubicBezTo>
                <a:cubicBezTo>
                  <a:pt x="1667895" y="6212315"/>
                  <a:pt x="1675755" y="6228465"/>
                  <a:pt x="1675755" y="6242040"/>
                </a:cubicBezTo>
                <a:cubicBezTo>
                  <a:pt x="1675755" y="6259994"/>
                  <a:pt x="1664198" y="6272175"/>
                  <a:pt x="1647054" y="6276239"/>
                </a:cubicBezTo>
                <a:lnTo>
                  <a:pt x="1647079" y="6276239"/>
                </a:lnTo>
                <a:cubicBezTo>
                  <a:pt x="1641423" y="6277283"/>
                  <a:pt x="1635673" y="6277782"/>
                  <a:pt x="1629924" y="6277726"/>
                </a:cubicBezTo>
                <a:lnTo>
                  <a:pt x="1581392" y="6277726"/>
                </a:lnTo>
                <a:close/>
                <a:moveTo>
                  <a:pt x="1117820" y="6204690"/>
                </a:moveTo>
                <a:cubicBezTo>
                  <a:pt x="1165249" y="6205299"/>
                  <a:pt x="1192835" y="6219084"/>
                  <a:pt x="1192835" y="6243597"/>
                </a:cubicBezTo>
                <a:cubicBezTo>
                  <a:pt x="1192835" y="6265662"/>
                  <a:pt x="1173075" y="6277691"/>
                  <a:pt x="1150605" y="6277691"/>
                </a:cubicBezTo>
                <a:lnTo>
                  <a:pt x="1150605" y="6277655"/>
                </a:lnTo>
                <a:lnTo>
                  <a:pt x="1098459" y="6277655"/>
                </a:lnTo>
                <a:lnTo>
                  <a:pt x="1098459" y="6205041"/>
                </a:lnTo>
                <a:cubicBezTo>
                  <a:pt x="1105065" y="6204760"/>
                  <a:pt x="1111554" y="6204620"/>
                  <a:pt x="1117820" y="6204690"/>
                </a:cubicBezTo>
                <a:close/>
                <a:moveTo>
                  <a:pt x="1826161" y="6170585"/>
                </a:moveTo>
                <a:cubicBezTo>
                  <a:pt x="1852973" y="6170585"/>
                  <a:pt x="1873355" y="6188305"/>
                  <a:pt x="1876358" y="6213439"/>
                </a:cubicBezTo>
                <a:lnTo>
                  <a:pt x="1776608" y="6213439"/>
                </a:lnTo>
                <a:cubicBezTo>
                  <a:pt x="1779636" y="6187579"/>
                  <a:pt x="1800639" y="6170585"/>
                  <a:pt x="1826161" y="6170585"/>
                </a:cubicBezTo>
                <a:close/>
                <a:moveTo>
                  <a:pt x="1914658" y="6137744"/>
                </a:moveTo>
                <a:lnTo>
                  <a:pt x="1986141" y="6317394"/>
                </a:lnTo>
                <a:lnTo>
                  <a:pt x="2025086" y="6317394"/>
                </a:lnTo>
                <a:lnTo>
                  <a:pt x="2096428" y="6137744"/>
                </a:lnTo>
                <a:lnTo>
                  <a:pt x="2051159" y="6137744"/>
                </a:lnTo>
                <a:lnTo>
                  <a:pt x="2006101" y="6266084"/>
                </a:lnTo>
                <a:lnTo>
                  <a:pt x="1960373" y="6137744"/>
                </a:lnTo>
                <a:close/>
                <a:moveTo>
                  <a:pt x="1825773" y="6133903"/>
                </a:moveTo>
                <a:cubicBezTo>
                  <a:pt x="1774543" y="6133903"/>
                  <a:pt x="1734730" y="6175047"/>
                  <a:pt x="1734730" y="6228829"/>
                </a:cubicBezTo>
                <a:cubicBezTo>
                  <a:pt x="1734730" y="6278464"/>
                  <a:pt x="1773933" y="6321236"/>
                  <a:pt x="1827569" y="6321236"/>
                </a:cubicBezTo>
                <a:cubicBezTo>
                  <a:pt x="1866748" y="6321236"/>
                  <a:pt x="1897092" y="6298737"/>
                  <a:pt x="1912593" y="6262278"/>
                </a:cubicBezTo>
                <a:lnTo>
                  <a:pt x="1869682" y="6262278"/>
                </a:lnTo>
                <a:cubicBezTo>
                  <a:pt x="1860013" y="6276719"/>
                  <a:pt x="1847059" y="6284531"/>
                  <a:pt x="1828285" y="6284531"/>
                </a:cubicBezTo>
                <a:cubicBezTo>
                  <a:pt x="1800323" y="6284531"/>
                  <a:pt x="1782030" y="6268134"/>
                  <a:pt x="1776479" y="6242860"/>
                </a:cubicBezTo>
                <a:lnTo>
                  <a:pt x="1916946" y="6242860"/>
                </a:lnTo>
                <a:cubicBezTo>
                  <a:pt x="1917932" y="6237227"/>
                  <a:pt x="1918366" y="6231512"/>
                  <a:pt x="1918225" y="6225795"/>
                </a:cubicBezTo>
                <a:cubicBezTo>
                  <a:pt x="1917791" y="6177518"/>
                  <a:pt x="1880677" y="6133903"/>
                  <a:pt x="1825773" y="6133903"/>
                </a:cubicBezTo>
                <a:close/>
                <a:moveTo>
                  <a:pt x="1437874" y="6133903"/>
                </a:moveTo>
                <a:cubicBezTo>
                  <a:pt x="1416061" y="6133903"/>
                  <a:pt x="1395186" y="6142101"/>
                  <a:pt x="1381716" y="6164038"/>
                </a:cubicBezTo>
                <a:lnTo>
                  <a:pt x="1381716" y="6137745"/>
                </a:lnTo>
                <a:lnTo>
                  <a:pt x="1342243" y="6137745"/>
                </a:lnTo>
                <a:lnTo>
                  <a:pt x="1342243" y="6317395"/>
                </a:lnTo>
                <a:lnTo>
                  <a:pt x="1384485" y="6317395"/>
                </a:lnTo>
                <a:lnTo>
                  <a:pt x="1384485" y="6222235"/>
                </a:lnTo>
                <a:cubicBezTo>
                  <a:pt x="1384377" y="6215587"/>
                  <a:pt x="1385042" y="6208949"/>
                  <a:pt x="1386468" y="6202453"/>
                </a:cubicBezTo>
                <a:cubicBezTo>
                  <a:pt x="1391326" y="6183082"/>
                  <a:pt x="1405160" y="6171826"/>
                  <a:pt x="1425519" y="6171826"/>
                </a:cubicBezTo>
                <a:cubicBezTo>
                  <a:pt x="1446558" y="6171826"/>
                  <a:pt x="1458679" y="6182367"/>
                  <a:pt x="1462574" y="6203343"/>
                </a:cubicBezTo>
                <a:cubicBezTo>
                  <a:pt x="1463564" y="6209579"/>
                  <a:pt x="1464027" y="6215887"/>
                  <a:pt x="1463959" y="6222200"/>
                </a:cubicBezTo>
                <a:lnTo>
                  <a:pt x="1463959" y="6317395"/>
                </a:lnTo>
                <a:lnTo>
                  <a:pt x="1506201" y="6317395"/>
                </a:lnTo>
                <a:lnTo>
                  <a:pt x="1506201" y="6211085"/>
                </a:lnTo>
                <a:cubicBezTo>
                  <a:pt x="1506201" y="6199150"/>
                  <a:pt x="1505028" y="6188375"/>
                  <a:pt x="1502212" y="6179170"/>
                </a:cubicBezTo>
                <a:cubicBezTo>
                  <a:pt x="1493024" y="6148637"/>
                  <a:pt x="1468523" y="6133903"/>
                  <a:pt x="1437874" y="6133903"/>
                </a:cubicBezTo>
                <a:close/>
                <a:moveTo>
                  <a:pt x="919998" y="6114613"/>
                </a:moveTo>
                <a:lnTo>
                  <a:pt x="952724" y="6201762"/>
                </a:lnTo>
                <a:cubicBezTo>
                  <a:pt x="918801" y="6217280"/>
                  <a:pt x="888621" y="6237167"/>
                  <a:pt x="863675" y="6259982"/>
                </a:cubicBezTo>
                <a:lnTo>
                  <a:pt x="863675" y="6259959"/>
                </a:lnTo>
                <a:close/>
                <a:moveTo>
                  <a:pt x="1581369" y="6104318"/>
                </a:moveTo>
                <a:lnTo>
                  <a:pt x="1620278" y="6104318"/>
                </a:lnTo>
                <a:cubicBezTo>
                  <a:pt x="1629149" y="6104318"/>
                  <a:pt x="1638583" y="6105490"/>
                  <a:pt x="1644637" y="6108324"/>
                </a:cubicBezTo>
                <a:cubicBezTo>
                  <a:pt x="1655199" y="6113184"/>
                  <a:pt x="1660890" y="6122261"/>
                  <a:pt x="1660890" y="6135894"/>
                </a:cubicBezTo>
                <a:cubicBezTo>
                  <a:pt x="1660890" y="6149527"/>
                  <a:pt x="1654823" y="6158967"/>
                  <a:pt x="1644062" y="6163804"/>
                </a:cubicBezTo>
                <a:cubicBezTo>
                  <a:pt x="1638677" y="6166216"/>
                  <a:pt x="1630815" y="6167493"/>
                  <a:pt x="1621769" y="6167493"/>
                </a:cubicBezTo>
                <a:lnTo>
                  <a:pt x="1581392" y="6167493"/>
                </a:lnTo>
                <a:close/>
                <a:moveTo>
                  <a:pt x="1098459" y="6104318"/>
                </a:moveTo>
                <a:lnTo>
                  <a:pt x="1135644" y="6104318"/>
                </a:lnTo>
                <a:cubicBezTo>
                  <a:pt x="1144139" y="6104318"/>
                  <a:pt x="1151262" y="6105279"/>
                  <a:pt x="1156143" y="6106871"/>
                </a:cubicBezTo>
                <a:cubicBezTo>
                  <a:pt x="1170224" y="6111474"/>
                  <a:pt x="1177980" y="6122097"/>
                  <a:pt x="1177980" y="6139220"/>
                </a:cubicBezTo>
                <a:cubicBezTo>
                  <a:pt x="1177980" y="6155078"/>
                  <a:pt x="1169978" y="6165502"/>
                  <a:pt x="1157281" y="6170292"/>
                </a:cubicBezTo>
                <a:cubicBezTo>
                  <a:pt x="1143841" y="6168099"/>
                  <a:pt x="1130242" y="6167033"/>
                  <a:pt x="1116623" y="6167106"/>
                </a:cubicBezTo>
                <a:cubicBezTo>
                  <a:pt x="1110968" y="6167106"/>
                  <a:pt x="1104749" y="6167188"/>
                  <a:pt x="1098459" y="6167387"/>
                </a:cubicBezTo>
                <a:close/>
                <a:moveTo>
                  <a:pt x="708600" y="6080273"/>
                </a:moveTo>
                <a:cubicBezTo>
                  <a:pt x="650031" y="6107486"/>
                  <a:pt x="611463" y="6164927"/>
                  <a:pt x="608510" y="6229343"/>
                </a:cubicBezTo>
                <a:cubicBezTo>
                  <a:pt x="606585" y="6269810"/>
                  <a:pt x="618997" y="6309663"/>
                  <a:pt x="643571" y="6341907"/>
                </a:cubicBezTo>
                <a:cubicBezTo>
                  <a:pt x="725244" y="6322452"/>
                  <a:pt x="775653" y="6240596"/>
                  <a:pt x="756163" y="6159075"/>
                </a:cubicBezTo>
                <a:cubicBezTo>
                  <a:pt x="748860" y="6128528"/>
                  <a:pt x="732241" y="6100995"/>
                  <a:pt x="708600" y="6080273"/>
                </a:cubicBezTo>
                <a:close/>
                <a:moveTo>
                  <a:pt x="1538047" y="6064650"/>
                </a:moveTo>
                <a:lnTo>
                  <a:pt x="1538047" y="6317394"/>
                </a:lnTo>
                <a:lnTo>
                  <a:pt x="1627694" y="6317394"/>
                </a:lnTo>
                <a:cubicBezTo>
                  <a:pt x="1645166" y="6317394"/>
                  <a:pt x="1656876" y="6315731"/>
                  <a:pt x="1668352" y="6311691"/>
                </a:cubicBezTo>
                <a:cubicBezTo>
                  <a:pt x="1698391" y="6301150"/>
                  <a:pt x="1719101" y="6277831"/>
                  <a:pt x="1719101" y="6243668"/>
                </a:cubicBezTo>
                <a:cubicBezTo>
                  <a:pt x="1719101" y="6215149"/>
                  <a:pt x="1705525" y="6194875"/>
                  <a:pt x="1679934" y="6182309"/>
                </a:cubicBezTo>
                <a:cubicBezTo>
                  <a:pt x="1697064" y="6169179"/>
                  <a:pt x="1704270" y="6154118"/>
                  <a:pt x="1704270" y="6132603"/>
                </a:cubicBezTo>
                <a:cubicBezTo>
                  <a:pt x="1704270" y="6100395"/>
                  <a:pt x="1684322" y="6076257"/>
                  <a:pt x="1653814" y="6068023"/>
                </a:cubicBezTo>
                <a:cubicBezTo>
                  <a:pt x="1645904" y="6065903"/>
                  <a:pt x="1633057" y="6064650"/>
                  <a:pt x="1618095" y="6064650"/>
                </a:cubicBezTo>
                <a:close/>
                <a:moveTo>
                  <a:pt x="1261795" y="6064650"/>
                </a:moveTo>
                <a:lnTo>
                  <a:pt x="1261795" y="6317394"/>
                </a:lnTo>
                <a:lnTo>
                  <a:pt x="1305610" y="6317394"/>
                </a:lnTo>
                <a:lnTo>
                  <a:pt x="1305610" y="6064650"/>
                </a:lnTo>
                <a:close/>
                <a:moveTo>
                  <a:pt x="900344" y="6064638"/>
                </a:moveTo>
                <a:lnTo>
                  <a:pt x="797003" y="6317394"/>
                </a:lnTo>
                <a:lnTo>
                  <a:pt x="839163" y="6317394"/>
                </a:lnTo>
                <a:cubicBezTo>
                  <a:pt x="875609" y="6278944"/>
                  <a:pt x="919106" y="6251350"/>
                  <a:pt x="964399" y="6233068"/>
                </a:cubicBezTo>
                <a:lnTo>
                  <a:pt x="996081" y="6317394"/>
                </a:lnTo>
                <a:lnTo>
                  <a:pt x="1043896" y="6317394"/>
                </a:lnTo>
                <a:lnTo>
                  <a:pt x="1003872" y="6219470"/>
                </a:lnTo>
                <a:cubicBezTo>
                  <a:pt x="1020688" y="6214697"/>
                  <a:pt x="1037802" y="6211039"/>
                  <a:pt x="1055102" y="6208520"/>
                </a:cubicBezTo>
                <a:lnTo>
                  <a:pt x="1055102" y="6317359"/>
                </a:lnTo>
                <a:lnTo>
                  <a:pt x="1076857" y="6317359"/>
                </a:lnTo>
                <a:lnTo>
                  <a:pt x="1153268" y="6317359"/>
                </a:lnTo>
                <a:cubicBezTo>
                  <a:pt x="1207244" y="6317359"/>
                  <a:pt x="1236227" y="6285737"/>
                  <a:pt x="1236227" y="6243574"/>
                </a:cubicBezTo>
                <a:cubicBezTo>
                  <a:pt x="1236227" y="6218112"/>
                  <a:pt x="1223543" y="6196386"/>
                  <a:pt x="1196614" y="6182660"/>
                </a:cubicBezTo>
                <a:cubicBezTo>
                  <a:pt x="1214872" y="6169331"/>
                  <a:pt x="1221325" y="6149409"/>
                  <a:pt x="1221325" y="6132603"/>
                </a:cubicBezTo>
                <a:cubicBezTo>
                  <a:pt x="1221325" y="6100395"/>
                  <a:pt x="1201377" y="6076256"/>
                  <a:pt x="1170869" y="6068023"/>
                </a:cubicBezTo>
                <a:cubicBezTo>
                  <a:pt x="1162961" y="6065903"/>
                  <a:pt x="1150112" y="6064650"/>
                  <a:pt x="1135151" y="6064650"/>
                </a:cubicBezTo>
                <a:lnTo>
                  <a:pt x="1055102" y="6064650"/>
                </a:lnTo>
                <a:lnTo>
                  <a:pt x="1055102" y="6171299"/>
                </a:lnTo>
                <a:cubicBezTo>
                  <a:pt x="1033182" y="6174617"/>
                  <a:pt x="1011591" y="6179817"/>
                  <a:pt x="990566" y="6186841"/>
                </a:cubicBezTo>
                <a:lnTo>
                  <a:pt x="940556" y="6064638"/>
                </a:lnTo>
                <a:close/>
                <a:moveTo>
                  <a:pt x="634747" y="6044962"/>
                </a:moveTo>
                <a:cubicBezTo>
                  <a:pt x="552104" y="6030388"/>
                  <a:pt x="473274" y="6085443"/>
                  <a:pt x="458673" y="6167931"/>
                </a:cubicBezTo>
                <a:cubicBezTo>
                  <a:pt x="457891" y="6172348"/>
                  <a:pt x="457306" y="6176797"/>
                  <a:pt x="456919" y="6181266"/>
                </a:cubicBezTo>
                <a:cubicBezTo>
                  <a:pt x="469009" y="6183023"/>
                  <a:pt x="481263" y="6183377"/>
                  <a:pt x="493435" y="6182320"/>
                </a:cubicBezTo>
                <a:cubicBezTo>
                  <a:pt x="569307" y="6175714"/>
                  <a:pt x="627706" y="6116709"/>
                  <a:pt x="634747" y="6044962"/>
                </a:cubicBezTo>
                <a:close/>
                <a:moveTo>
                  <a:pt x="315913" y="323850"/>
                </a:moveTo>
                <a:lnTo>
                  <a:pt x="315913" y="457200"/>
                </a:lnTo>
                <a:lnTo>
                  <a:pt x="11876087" y="457200"/>
                </a:lnTo>
                <a:lnTo>
                  <a:pt x="11876087" y="323850"/>
                </a:lnTo>
                <a:close/>
                <a:moveTo>
                  <a:pt x="0" y="0"/>
                </a:moveTo>
                <a:lnTo>
                  <a:pt x="12191999" y="0"/>
                </a:lnTo>
                <a:lnTo>
                  <a:pt x="12191999" y="6857999"/>
                </a:lnTo>
                <a:lnTo>
                  <a:pt x="0" y="6857999"/>
                </a:lnTo>
                <a:close/>
              </a:path>
            </a:pathLst>
          </a:custGeom>
          <a:pattFill prst="pct25">
            <a:fgClr>
              <a:srgbClr val="000000"/>
            </a:fgClr>
            <a:bgClr>
              <a:schemeClr val="bg1"/>
            </a:bgClr>
          </a:pattFill>
        </p:spPr>
        <p:txBody>
          <a:bodyPr wrap="square" anchor="ctr">
            <a:noAutofit/>
          </a:bodyPr>
          <a:lstStyle>
            <a:lvl1pPr algn="ctr">
              <a:defRPr sz="1200"/>
            </a:lvl1pPr>
          </a:lstStyle>
          <a:p>
            <a:r>
              <a:rPr lang="en-US"/>
              <a:t>                                                                       </a:t>
            </a:r>
          </a:p>
          <a:p>
            <a:endParaRPr lang="en-US"/>
          </a:p>
          <a:p>
            <a:endParaRPr lang="en-US"/>
          </a:p>
          <a:p>
            <a:endParaRPr lang="en-US"/>
          </a:p>
          <a:p>
            <a:endParaRPr lang="en-US"/>
          </a:p>
          <a:p>
            <a:endParaRPr lang="en-US"/>
          </a:p>
          <a:p>
            <a:endParaRPr lang="en-US"/>
          </a:p>
          <a:p>
            <a:endParaRPr lang="en-US"/>
          </a:p>
          <a:p>
            <a:endParaRPr lang="en-US"/>
          </a:p>
          <a:p>
            <a:endParaRPr lang="en-US"/>
          </a:p>
          <a:p>
            <a:r>
              <a:rPr lang="en-US"/>
              <a:t>         Insert background image here</a:t>
            </a:r>
          </a:p>
        </p:txBody>
      </p:sp>
      <p:pic>
        <p:nvPicPr>
          <p:cNvPr id="27" name="Graphic 26">
            <a:extLst>
              <a:ext uri="{FF2B5EF4-FFF2-40B4-BE49-F238E27FC236}">
                <a16:creationId xmlns:a16="http://schemas.microsoft.com/office/drawing/2014/main" id="{5D728CFB-FB1D-A144-A2DF-F2F53E2962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042624"/>
            <a:ext cx="1639229" cy="302169"/>
          </a:xfrm>
          <a:prstGeom prst="rect">
            <a:avLst/>
          </a:prstGeom>
        </p:spPr>
      </p:pic>
      <p:sp>
        <p:nvSpPr>
          <p:cNvPr id="28" name="Text Placeholder 2">
            <a:extLst>
              <a:ext uri="{FF2B5EF4-FFF2-40B4-BE49-F238E27FC236}">
                <a16:creationId xmlns:a16="http://schemas.microsoft.com/office/drawing/2014/main" id="{F2DEE4AD-12F8-DA42-BAC7-2D3F26B30FBA}"/>
              </a:ext>
            </a:extLst>
          </p:cNvPr>
          <p:cNvSpPr>
            <a:spLocks noGrp="1"/>
          </p:cNvSpPr>
          <p:nvPr>
            <p:ph type="body" sz="quarter" idx="12" hasCustomPrompt="1"/>
          </p:nvPr>
        </p:nvSpPr>
        <p:spPr>
          <a:xfrm>
            <a:off x="315913" y="697001"/>
            <a:ext cx="1003578" cy="1005269"/>
          </a:xfrm>
        </p:spPr>
        <p:txBody>
          <a:bodyPr rIns="0" anchor="ctr"/>
          <a:lstStyle>
            <a:lvl1pPr marL="0" indent="0" algn="l" defTabSz="914400" rtl="0" eaLnBrk="1" latinLnBrk="0" hangingPunct="1">
              <a:lnSpc>
                <a:spcPct val="90000"/>
              </a:lnSpc>
              <a:spcBef>
                <a:spcPts val="1000"/>
              </a:spcBef>
              <a:buFont typeface="Arial" panose="020B0604020202020204" pitchFamily="34" charset="0"/>
              <a:buNone/>
              <a:defRPr lang="en-US" sz="6600" b="1" kern="1200" spc="-300" dirty="0">
                <a:gradFill>
                  <a:gsLst>
                    <a:gs pos="0">
                      <a:srgbClr val="D1A33C"/>
                    </a:gs>
                    <a:gs pos="100000">
                      <a:srgbClr val="F2D713"/>
                    </a:gs>
                  </a:gsLst>
                  <a:lin ang="0" scaled="0"/>
                </a:gradFill>
                <a:latin typeface="+mn-lt"/>
                <a:ea typeface="+mn-ea"/>
                <a:cs typeface="+mn-cs"/>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0#</a:t>
            </a:r>
          </a:p>
        </p:txBody>
      </p:sp>
      <p:sp>
        <p:nvSpPr>
          <p:cNvPr id="29" name="Text Placeholder 3">
            <a:extLst>
              <a:ext uri="{FF2B5EF4-FFF2-40B4-BE49-F238E27FC236}">
                <a16:creationId xmlns:a16="http://schemas.microsoft.com/office/drawing/2014/main" id="{F20F0C56-846C-E740-8209-23828976DFE5}"/>
              </a:ext>
            </a:extLst>
          </p:cNvPr>
          <p:cNvSpPr>
            <a:spLocks noGrp="1"/>
          </p:cNvSpPr>
          <p:nvPr>
            <p:ph type="body" sz="quarter" idx="10" hasCustomPrompt="1"/>
          </p:nvPr>
        </p:nvSpPr>
        <p:spPr>
          <a:xfrm>
            <a:off x="3359599" y="817858"/>
            <a:ext cx="8516488" cy="4182510"/>
          </a:xfrm>
        </p:spPr>
        <p:txBody>
          <a:bodyPr rIns="0" anchor="t"/>
          <a:lstStyle>
            <a:lvl1pPr algn="r">
              <a:lnSpc>
                <a:spcPct val="90000"/>
              </a:lnSpc>
              <a:spcAft>
                <a:spcPts val="0"/>
              </a:spcAft>
              <a:defRPr kumimoji="0" lang="en-US" sz="6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lvl="0"/>
            <a:r>
              <a:rPr lang="en-US"/>
              <a:t>Section Header for Long Section Titles with Many Lines</a:t>
            </a:r>
          </a:p>
        </p:txBody>
      </p:sp>
    </p:spTree>
    <p:extLst>
      <p:ext uri="{BB962C8B-B14F-4D97-AF65-F5344CB8AC3E}">
        <p14:creationId xmlns:p14="http://schemas.microsoft.com/office/powerpoint/2010/main" val="21564955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C151B94-E7E6-E740-BA80-C3D753F8C47C}"/>
              </a:ext>
            </a:extLst>
          </p:cNvPr>
          <p:cNvSpPr/>
          <p:nvPr userDrawn="1"/>
        </p:nvSpPr>
        <p:spPr>
          <a:xfrm>
            <a:off x="0" y="0"/>
            <a:ext cx="12192000" cy="6858000"/>
          </a:xfrm>
          <a:prstGeom prst="rect">
            <a:avLst/>
          </a:prstGeom>
          <a:gradFill>
            <a:gsLst>
              <a:gs pos="0">
                <a:srgbClr val="D1A33C"/>
              </a:gs>
              <a:gs pos="100000">
                <a:srgbClr val="F2D71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4" descr="A picture containing person, person, nature&#10;&#10;Description automatically generated">
            <a:extLst>
              <a:ext uri="{FF2B5EF4-FFF2-40B4-BE49-F238E27FC236}">
                <a16:creationId xmlns:a16="http://schemas.microsoft.com/office/drawing/2014/main" id="{D06689A1-E3AF-4045-84D7-F162BC529884}"/>
              </a:ext>
            </a:extLst>
          </p:cNvPr>
          <p:cNvPicPr>
            <a:picLocks noChangeAspect="1"/>
          </p:cNvPicPr>
          <p:nvPr userDrawn="1"/>
        </p:nvPicPr>
        <p:blipFill rotWithShape="1">
          <a:blip r:embed="rId2"/>
          <a:srcRect l="25557" t="144" r="23329" b="-216"/>
          <a:stretch/>
        </p:blipFill>
        <p:spPr>
          <a:xfrm>
            <a:off x="5984174" y="0"/>
            <a:ext cx="6250162" cy="6868260"/>
          </a:xfrm>
          <a:prstGeom prst="rect">
            <a:avLst/>
          </a:prstGeom>
        </p:spPr>
      </p:pic>
      <p:pic>
        <p:nvPicPr>
          <p:cNvPr id="16" name="Picture 3">
            <a:extLst>
              <a:ext uri="{FF2B5EF4-FFF2-40B4-BE49-F238E27FC236}">
                <a16:creationId xmlns:a16="http://schemas.microsoft.com/office/drawing/2014/main" id="{86C3DDCD-E362-DA42-A400-CBD1A5CB9280}"/>
              </a:ext>
            </a:extLst>
          </p:cNvPr>
          <p:cNvPicPr>
            <a:picLocks noChangeAspect="1"/>
          </p:cNvPicPr>
          <p:nvPr userDrawn="1"/>
        </p:nvPicPr>
        <p:blipFill>
          <a:blip r:embed="rId3"/>
          <a:stretch>
            <a:fillRect/>
          </a:stretch>
        </p:blipFill>
        <p:spPr>
          <a:xfrm>
            <a:off x="-11435" y="0"/>
            <a:ext cx="12214870" cy="6870865"/>
          </a:xfrm>
          <a:prstGeom prst="rect">
            <a:avLst/>
          </a:prstGeom>
        </p:spPr>
      </p:pic>
      <p:grpSp>
        <p:nvGrpSpPr>
          <p:cNvPr id="25" name="Graphic 4">
            <a:extLst>
              <a:ext uri="{FF2B5EF4-FFF2-40B4-BE49-F238E27FC236}">
                <a16:creationId xmlns:a16="http://schemas.microsoft.com/office/drawing/2014/main" id="{7E7758C5-ECC7-B540-BC94-E927D20811EE}"/>
              </a:ext>
            </a:extLst>
          </p:cNvPr>
          <p:cNvGrpSpPr/>
          <p:nvPr userDrawn="1"/>
        </p:nvGrpSpPr>
        <p:grpSpPr>
          <a:xfrm>
            <a:off x="453487" y="610181"/>
            <a:ext cx="2029870" cy="373384"/>
            <a:chOff x="497541" y="-650117"/>
            <a:chExt cx="2029870" cy="373384"/>
          </a:xfrm>
          <a:solidFill>
            <a:srgbClr val="010101"/>
          </a:solidFill>
        </p:grpSpPr>
        <p:sp>
          <p:nvSpPr>
            <p:cNvPr id="26" name="Freeform 25">
              <a:extLst>
                <a:ext uri="{FF2B5EF4-FFF2-40B4-BE49-F238E27FC236}">
                  <a16:creationId xmlns:a16="http://schemas.microsoft.com/office/drawing/2014/main" id="{C0E54352-DA9D-6A45-8DDA-592DA4618DFE}"/>
                </a:ext>
              </a:extLst>
            </p:cNvPr>
            <p:cNvSpPr/>
            <p:nvPr/>
          </p:nvSpPr>
          <p:spPr>
            <a:xfrm>
              <a:off x="497541" y="-650117"/>
              <a:ext cx="375677" cy="373384"/>
            </a:xfrm>
            <a:custGeom>
              <a:avLst/>
              <a:gdLst>
                <a:gd name="connsiteX0" fmla="*/ 187684 w 375677"/>
                <a:gd name="connsiteY0" fmla="*/ 231177 h 373384"/>
                <a:gd name="connsiteX1" fmla="*/ 231092 w 375677"/>
                <a:gd name="connsiteY1" fmla="*/ 370542 h 373384"/>
                <a:gd name="connsiteX2" fmla="*/ 370493 w 375677"/>
                <a:gd name="connsiteY2" fmla="*/ 144178 h 373384"/>
                <a:gd name="connsiteX3" fmla="*/ 311605 w 375677"/>
                <a:gd name="connsiteY3" fmla="*/ 46614 h 373384"/>
                <a:gd name="connsiteX4" fmla="*/ 187684 w 375677"/>
                <a:gd name="connsiteY4" fmla="*/ 231177 h 373384"/>
                <a:gd name="connsiteX5" fmla="*/ 45210 w 375677"/>
                <a:gd name="connsiteY5" fmla="*/ 172958 h 373384"/>
                <a:gd name="connsiteX6" fmla="*/ 220168 w 375677"/>
                <a:gd name="connsiteY6" fmla="*/ 2895 h 373384"/>
                <a:gd name="connsiteX7" fmla="*/ 2171 w 375677"/>
                <a:gd name="connsiteY7" fmla="*/ 155143 h 373384"/>
                <a:gd name="connsiteX8" fmla="*/ 0 w 375677"/>
                <a:gd name="connsiteY8" fmla="*/ 171653 h 373384"/>
                <a:gd name="connsiteX9" fmla="*/ 45210 w 375677"/>
                <a:gd name="connsiteY9" fmla="*/ 172958 h 373384"/>
                <a:gd name="connsiteX10" fmla="*/ 38426 w 375677"/>
                <a:gd name="connsiteY10" fmla="*/ 231699 h 373384"/>
                <a:gd name="connsiteX11" fmla="*/ 2513 w 375677"/>
                <a:gd name="connsiteY11" fmla="*/ 222274 h 373384"/>
                <a:gd name="connsiteX12" fmla="*/ 158628 w 375677"/>
                <a:gd name="connsiteY12" fmla="*/ 373384 h 373384"/>
                <a:gd name="connsiteX13" fmla="*/ 38426 w 375677"/>
                <a:gd name="connsiteY13" fmla="*/ 231699 h 37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77" h="373384">
                  <a:moveTo>
                    <a:pt x="187684" y="231177"/>
                  </a:moveTo>
                  <a:cubicBezTo>
                    <a:pt x="185300" y="281280"/>
                    <a:pt x="200669" y="330620"/>
                    <a:pt x="231092" y="370542"/>
                  </a:cubicBezTo>
                  <a:cubicBezTo>
                    <a:pt x="332213" y="346456"/>
                    <a:pt x="394624" y="245109"/>
                    <a:pt x="370493" y="144178"/>
                  </a:cubicBezTo>
                  <a:cubicBezTo>
                    <a:pt x="361450" y="106358"/>
                    <a:pt x="340875" y="72270"/>
                    <a:pt x="311605" y="46614"/>
                  </a:cubicBezTo>
                  <a:cubicBezTo>
                    <a:pt x="239091" y="80307"/>
                    <a:pt x="191340" y="151425"/>
                    <a:pt x="187684" y="231177"/>
                  </a:cubicBezTo>
                  <a:close/>
                  <a:moveTo>
                    <a:pt x="45210" y="172958"/>
                  </a:moveTo>
                  <a:cubicBezTo>
                    <a:pt x="139146" y="164779"/>
                    <a:pt x="211451" y="91726"/>
                    <a:pt x="220168" y="2895"/>
                  </a:cubicBezTo>
                  <a:cubicBezTo>
                    <a:pt x="117849" y="-15148"/>
                    <a:pt x="20248" y="53016"/>
                    <a:pt x="2171" y="155143"/>
                  </a:cubicBezTo>
                  <a:cubicBezTo>
                    <a:pt x="1203" y="160612"/>
                    <a:pt x="479" y="166120"/>
                    <a:pt x="0" y="171653"/>
                  </a:cubicBezTo>
                  <a:cubicBezTo>
                    <a:pt x="14969" y="173829"/>
                    <a:pt x="30140" y="174267"/>
                    <a:pt x="45210" y="172958"/>
                  </a:cubicBezTo>
                  <a:close/>
                  <a:moveTo>
                    <a:pt x="38426" y="231699"/>
                  </a:moveTo>
                  <a:cubicBezTo>
                    <a:pt x="26753" y="227519"/>
                    <a:pt x="14736" y="224366"/>
                    <a:pt x="2513" y="222274"/>
                  </a:cubicBezTo>
                  <a:cubicBezTo>
                    <a:pt x="17141" y="300613"/>
                    <a:pt x="79730" y="361196"/>
                    <a:pt x="158628" y="373384"/>
                  </a:cubicBezTo>
                  <a:cubicBezTo>
                    <a:pt x="156609" y="315484"/>
                    <a:pt x="109597" y="257162"/>
                    <a:pt x="38426" y="231699"/>
                  </a:cubicBezTo>
                  <a:close/>
                </a:path>
              </a:pathLst>
            </a:custGeom>
            <a:solidFill>
              <a:srgbClr val="010101"/>
            </a:solidFill>
            <a:ln w="145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422E281-917E-B74F-B168-E31E6BB6D96F}"/>
                </a:ext>
              </a:extLst>
            </p:cNvPr>
            <p:cNvSpPr/>
            <p:nvPr/>
          </p:nvSpPr>
          <p:spPr>
            <a:xfrm>
              <a:off x="1494055" y="-622846"/>
              <a:ext cx="54246" cy="312921"/>
            </a:xfrm>
            <a:custGeom>
              <a:avLst/>
              <a:gdLst>
                <a:gd name="connsiteX0" fmla="*/ 0 w 54246"/>
                <a:gd name="connsiteY0" fmla="*/ 0 h 312921"/>
                <a:gd name="connsiteX1" fmla="*/ 54247 w 54246"/>
                <a:gd name="connsiteY1" fmla="*/ 0 h 312921"/>
                <a:gd name="connsiteX2" fmla="*/ 54247 w 54246"/>
                <a:gd name="connsiteY2" fmla="*/ 312922 h 312921"/>
                <a:gd name="connsiteX3" fmla="*/ 0 w 54246"/>
                <a:gd name="connsiteY3" fmla="*/ 312922 h 312921"/>
              </a:gdLst>
              <a:ahLst/>
              <a:cxnLst>
                <a:cxn ang="0">
                  <a:pos x="connsiteX0" y="connsiteY0"/>
                </a:cxn>
                <a:cxn ang="0">
                  <a:pos x="connsiteX1" y="connsiteY1"/>
                </a:cxn>
                <a:cxn ang="0">
                  <a:pos x="connsiteX2" y="connsiteY2"/>
                </a:cxn>
                <a:cxn ang="0">
                  <a:pos x="connsiteX3" y="connsiteY3"/>
                </a:cxn>
              </a:cxnLst>
              <a:rect l="l" t="t" r="r" b="b"/>
              <a:pathLst>
                <a:path w="54246" h="312921">
                  <a:moveTo>
                    <a:pt x="0" y="0"/>
                  </a:moveTo>
                  <a:lnTo>
                    <a:pt x="54247" y="0"/>
                  </a:lnTo>
                  <a:lnTo>
                    <a:pt x="54247" y="312922"/>
                  </a:lnTo>
                  <a:lnTo>
                    <a:pt x="0" y="312922"/>
                  </a:lnTo>
                  <a:close/>
                </a:path>
              </a:pathLst>
            </a:custGeom>
            <a:solidFill>
              <a:srgbClr val="010101"/>
            </a:solidFill>
            <a:ln w="145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281E3174-F74F-F84F-90B1-8909ECE00B83}"/>
                </a:ext>
              </a:extLst>
            </p:cNvPr>
            <p:cNvSpPr/>
            <p:nvPr/>
          </p:nvSpPr>
          <p:spPr>
            <a:xfrm>
              <a:off x="1593657" y="-537104"/>
              <a:ext cx="202995" cy="227179"/>
            </a:xfrm>
            <a:custGeom>
              <a:avLst/>
              <a:gdLst>
                <a:gd name="connsiteX0" fmla="*/ 118401 w 202995"/>
                <a:gd name="connsiteY0" fmla="*/ 0 h 227179"/>
                <a:gd name="connsiteX1" fmla="*/ 48871 w 202995"/>
                <a:gd name="connsiteY1" fmla="*/ 37310 h 227179"/>
                <a:gd name="connsiteX2" fmla="*/ 48871 w 202995"/>
                <a:gd name="connsiteY2" fmla="*/ 4756 h 227179"/>
                <a:gd name="connsiteX3" fmla="*/ 0 w 202995"/>
                <a:gd name="connsiteY3" fmla="*/ 4756 h 227179"/>
                <a:gd name="connsiteX4" fmla="*/ 0 w 202995"/>
                <a:gd name="connsiteY4" fmla="*/ 227180 h 227179"/>
                <a:gd name="connsiteX5" fmla="*/ 52300 w 202995"/>
                <a:gd name="connsiteY5" fmla="*/ 227180 h 227179"/>
                <a:gd name="connsiteX6" fmla="*/ 52300 w 202995"/>
                <a:gd name="connsiteY6" fmla="*/ 109363 h 227179"/>
                <a:gd name="connsiteX7" fmla="*/ 54755 w 202995"/>
                <a:gd name="connsiteY7" fmla="*/ 84872 h 227179"/>
                <a:gd name="connsiteX8" fmla="*/ 103103 w 202995"/>
                <a:gd name="connsiteY8" fmla="*/ 46953 h 227179"/>
                <a:gd name="connsiteX9" fmla="*/ 148982 w 202995"/>
                <a:gd name="connsiteY9" fmla="*/ 85974 h 227179"/>
                <a:gd name="connsiteX10" fmla="*/ 150696 w 202995"/>
                <a:gd name="connsiteY10" fmla="*/ 109320 h 227179"/>
                <a:gd name="connsiteX11" fmla="*/ 150696 w 202995"/>
                <a:gd name="connsiteY11" fmla="*/ 227180 h 227179"/>
                <a:gd name="connsiteX12" fmla="*/ 202996 w 202995"/>
                <a:gd name="connsiteY12" fmla="*/ 227180 h 227179"/>
                <a:gd name="connsiteX13" fmla="*/ 202996 w 202995"/>
                <a:gd name="connsiteY13" fmla="*/ 95559 h 227179"/>
                <a:gd name="connsiteX14" fmla="*/ 198056 w 202995"/>
                <a:gd name="connsiteY14" fmla="*/ 56045 h 227179"/>
                <a:gd name="connsiteX15" fmla="*/ 118401 w 202995"/>
                <a:gd name="connsiteY15" fmla="*/ 0 h 227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2995" h="227179">
                  <a:moveTo>
                    <a:pt x="118401" y="0"/>
                  </a:moveTo>
                  <a:cubicBezTo>
                    <a:pt x="91394" y="0"/>
                    <a:pt x="65549" y="10150"/>
                    <a:pt x="48871" y="37310"/>
                  </a:cubicBezTo>
                  <a:lnTo>
                    <a:pt x="48871" y="4756"/>
                  </a:lnTo>
                  <a:lnTo>
                    <a:pt x="0" y="4756"/>
                  </a:lnTo>
                  <a:lnTo>
                    <a:pt x="0" y="227180"/>
                  </a:lnTo>
                  <a:lnTo>
                    <a:pt x="52300" y="227180"/>
                  </a:lnTo>
                  <a:lnTo>
                    <a:pt x="52300" y="109363"/>
                  </a:lnTo>
                  <a:cubicBezTo>
                    <a:pt x="52167" y="101132"/>
                    <a:pt x="52991" y="92913"/>
                    <a:pt x="54755" y="84872"/>
                  </a:cubicBezTo>
                  <a:cubicBezTo>
                    <a:pt x="60769" y="60888"/>
                    <a:pt x="77898" y="46953"/>
                    <a:pt x="103103" y="46953"/>
                  </a:cubicBezTo>
                  <a:cubicBezTo>
                    <a:pt x="129151" y="46953"/>
                    <a:pt x="144159" y="60003"/>
                    <a:pt x="148982" y="85974"/>
                  </a:cubicBezTo>
                  <a:cubicBezTo>
                    <a:pt x="150207" y="93694"/>
                    <a:pt x="150780" y="101503"/>
                    <a:pt x="150696" y="109320"/>
                  </a:cubicBezTo>
                  <a:lnTo>
                    <a:pt x="150696" y="227180"/>
                  </a:lnTo>
                  <a:lnTo>
                    <a:pt x="202996" y="227180"/>
                  </a:lnTo>
                  <a:lnTo>
                    <a:pt x="202996" y="95559"/>
                  </a:lnTo>
                  <a:cubicBezTo>
                    <a:pt x="202996" y="80783"/>
                    <a:pt x="201543" y="67442"/>
                    <a:pt x="198056" y="56045"/>
                  </a:cubicBezTo>
                  <a:cubicBezTo>
                    <a:pt x="186681" y="18242"/>
                    <a:pt x="156347" y="0"/>
                    <a:pt x="118401" y="0"/>
                  </a:cubicBezTo>
                  <a:close/>
                </a:path>
              </a:pathLst>
            </a:custGeom>
            <a:solidFill>
              <a:srgbClr val="010101"/>
            </a:solidFill>
            <a:ln w="145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5D6E0B5A-B49C-C949-8AB3-DDDC66549294}"/>
                </a:ext>
              </a:extLst>
            </p:cNvPr>
            <p:cNvSpPr/>
            <p:nvPr/>
          </p:nvSpPr>
          <p:spPr>
            <a:xfrm>
              <a:off x="1836081" y="-622846"/>
              <a:ext cx="224162" cy="312921"/>
            </a:xfrm>
            <a:custGeom>
              <a:avLst/>
              <a:gdLst>
                <a:gd name="connsiteX0" fmla="*/ 175669 w 224162"/>
                <a:gd name="connsiteY0" fmla="*/ 145672 h 312921"/>
                <a:gd name="connsiteX1" fmla="*/ 205800 w 224162"/>
                <a:gd name="connsiteY1" fmla="*/ 84132 h 312921"/>
                <a:gd name="connsiteX2" fmla="*/ 143331 w 224162"/>
                <a:gd name="connsiteY2" fmla="*/ 4176 h 312921"/>
                <a:gd name="connsiteX3" fmla="*/ 99108 w 224162"/>
                <a:gd name="connsiteY3" fmla="*/ 0 h 312921"/>
                <a:gd name="connsiteX4" fmla="*/ 0 w 224162"/>
                <a:gd name="connsiteY4" fmla="*/ 0 h 312921"/>
                <a:gd name="connsiteX5" fmla="*/ 0 w 224162"/>
                <a:gd name="connsiteY5" fmla="*/ 312922 h 312921"/>
                <a:gd name="connsiteX6" fmla="*/ 110992 w 224162"/>
                <a:gd name="connsiteY6" fmla="*/ 312922 h 312921"/>
                <a:gd name="connsiteX7" fmla="*/ 161330 w 224162"/>
                <a:gd name="connsiteY7" fmla="*/ 305860 h 312921"/>
                <a:gd name="connsiteX8" fmla="*/ 224163 w 224162"/>
                <a:gd name="connsiteY8" fmla="*/ 221641 h 312921"/>
                <a:gd name="connsiteX9" fmla="*/ 175669 w 224162"/>
                <a:gd name="connsiteY9" fmla="*/ 145672 h 312921"/>
                <a:gd name="connsiteX10" fmla="*/ 53636 w 224162"/>
                <a:gd name="connsiteY10" fmla="*/ 49113 h 312921"/>
                <a:gd name="connsiteX11" fmla="*/ 101810 w 224162"/>
                <a:gd name="connsiteY11" fmla="*/ 49113 h 312921"/>
                <a:gd name="connsiteX12" fmla="*/ 131970 w 224162"/>
                <a:gd name="connsiteY12" fmla="*/ 54073 h 312921"/>
                <a:gd name="connsiteX13" fmla="*/ 152091 w 224162"/>
                <a:gd name="connsiteY13" fmla="*/ 88207 h 312921"/>
                <a:gd name="connsiteX14" fmla="*/ 131258 w 224162"/>
                <a:gd name="connsiteY14" fmla="*/ 122762 h 312921"/>
                <a:gd name="connsiteX15" fmla="*/ 103655 w 224162"/>
                <a:gd name="connsiteY15" fmla="*/ 127329 h 312921"/>
                <a:gd name="connsiteX16" fmla="*/ 53665 w 224162"/>
                <a:gd name="connsiteY16" fmla="*/ 127329 h 312921"/>
                <a:gd name="connsiteX17" fmla="*/ 134992 w 224162"/>
                <a:gd name="connsiteY17" fmla="*/ 261967 h 312921"/>
                <a:gd name="connsiteX18" fmla="*/ 113752 w 224162"/>
                <a:gd name="connsiteY18" fmla="*/ 263808 h 312921"/>
                <a:gd name="connsiteX19" fmla="*/ 53665 w 224162"/>
                <a:gd name="connsiteY19" fmla="*/ 263808 h 312921"/>
                <a:gd name="connsiteX20" fmla="*/ 53665 w 224162"/>
                <a:gd name="connsiteY20" fmla="*/ 175573 h 312921"/>
                <a:gd name="connsiteX21" fmla="*/ 118270 w 224162"/>
                <a:gd name="connsiteY21" fmla="*/ 175573 h 312921"/>
                <a:gd name="connsiteX22" fmla="*/ 135369 w 224162"/>
                <a:gd name="connsiteY22" fmla="*/ 177197 h 312921"/>
                <a:gd name="connsiteX23" fmla="*/ 170497 w 224162"/>
                <a:gd name="connsiteY23" fmla="*/ 219625 h 312921"/>
                <a:gd name="connsiteX24" fmla="*/ 134963 w 224162"/>
                <a:gd name="connsiteY24" fmla="*/ 261967 h 312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4162" h="312921">
                  <a:moveTo>
                    <a:pt x="175669" y="145672"/>
                  </a:moveTo>
                  <a:cubicBezTo>
                    <a:pt x="196880" y="129417"/>
                    <a:pt x="205800" y="110770"/>
                    <a:pt x="205800" y="84132"/>
                  </a:cubicBezTo>
                  <a:cubicBezTo>
                    <a:pt x="205800" y="44256"/>
                    <a:pt x="181103" y="14370"/>
                    <a:pt x="143331" y="4176"/>
                  </a:cubicBezTo>
                  <a:cubicBezTo>
                    <a:pt x="133539" y="1552"/>
                    <a:pt x="117631" y="0"/>
                    <a:pt x="99108" y="0"/>
                  </a:cubicBezTo>
                  <a:lnTo>
                    <a:pt x="0" y="0"/>
                  </a:lnTo>
                  <a:lnTo>
                    <a:pt x="0" y="312922"/>
                  </a:lnTo>
                  <a:lnTo>
                    <a:pt x="110992" y="312922"/>
                  </a:lnTo>
                  <a:cubicBezTo>
                    <a:pt x="132624" y="312922"/>
                    <a:pt x="147122" y="310863"/>
                    <a:pt x="161330" y="305860"/>
                  </a:cubicBezTo>
                  <a:cubicBezTo>
                    <a:pt x="198521" y="292809"/>
                    <a:pt x="224163" y="263939"/>
                    <a:pt x="224163" y="221641"/>
                  </a:cubicBezTo>
                  <a:cubicBezTo>
                    <a:pt x="224163" y="186332"/>
                    <a:pt x="207354" y="161232"/>
                    <a:pt x="175669" y="145672"/>
                  </a:cubicBezTo>
                  <a:close/>
                  <a:moveTo>
                    <a:pt x="53636" y="49113"/>
                  </a:moveTo>
                  <a:lnTo>
                    <a:pt x="101810" y="49113"/>
                  </a:lnTo>
                  <a:cubicBezTo>
                    <a:pt x="112793" y="49113"/>
                    <a:pt x="124473" y="50563"/>
                    <a:pt x="131970" y="54073"/>
                  </a:cubicBezTo>
                  <a:cubicBezTo>
                    <a:pt x="145045" y="60090"/>
                    <a:pt x="152091" y="71328"/>
                    <a:pt x="152091" y="88207"/>
                  </a:cubicBezTo>
                  <a:cubicBezTo>
                    <a:pt x="152091" y="105085"/>
                    <a:pt x="144580" y="116773"/>
                    <a:pt x="131258" y="122762"/>
                  </a:cubicBezTo>
                  <a:cubicBezTo>
                    <a:pt x="124590" y="125749"/>
                    <a:pt x="114856" y="127329"/>
                    <a:pt x="103655" y="127329"/>
                  </a:cubicBezTo>
                  <a:lnTo>
                    <a:pt x="53665" y="127329"/>
                  </a:lnTo>
                  <a:close/>
                  <a:moveTo>
                    <a:pt x="134992" y="261967"/>
                  </a:moveTo>
                  <a:cubicBezTo>
                    <a:pt x="127987" y="263261"/>
                    <a:pt x="120875" y="263877"/>
                    <a:pt x="113752" y="263808"/>
                  </a:cubicBezTo>
                  <a:lnTo>
                    <a:pt x="53665" y="263808"/>
                  </a:lnTo>
                  <a:lnTo>
                    <a:pt x="53665" y="175573"/>
                  </a:lnTo>
                  <a:lnTo>
                    <a:pt x="118270" y="175573"/>
                  </a:lnTo>
                  <a:cubicBezTo>
                    <a:pt x="124010" y="175541"/>
                    <a:pt x="129738" y="176085"/>
                    <a:pt x="135369" y="177197"/>
                  </a:cubicBezTo>
                  <a:cubicBezTo>
                    <a:pt x="160764" y="182823"/>
                    <a:pt x="170497" y="202819"/>
                    <a:pt x="170497" y="219625"/>
                  </a:cubicBezTo>
                  <a:cubicBezTo>
                    <a:pt x="170497" y="241855"/>
                    <a:pt x="156188" y="256935"/>
                    <a:pt x="134963" y="261967"/>
                  </a:cubicBezTo>
                  <a:close/>
                </a:path>
              </a:pathLst>
            </a:custGeom>
            <a:solidFill>
              <a:srgbClr val="010101"/>
            </a:solidFill>
            <a:ln w="145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5935C402-87FC-9C4D-81CE-9E56ECE7FCDF}"/>
                </a:ext>
              </a:extLst>
            </p:cNvPr>
            <p:cNvSpPr/>
            <p:nvPr/>
          </p:nvSpPr>
          <p:spPr>
            <a:xfrm>
              <a:off x="2302362" y="-532348"/>
              <a:ext cx="225048" cy="222423"/>
            </a:xfrm>
            <a:custGeom>
              <a:avLst/>
              <a:gdLst>
                <a:gd name="connsiteX0" fmla="*/ 169001 w 225048"/>
                <a:gd name="connsiteY0" fmla="*/ 0 h 222423"/>
                <a:gd name="connsiteX1" fmla="*/ 113215 w 225048"/>
                <a:gd name="connsiteY1" fmla="*/ 158897 h 222423"/>
                <a:gd name="connsiteX2" fmla="*/ 56600 w 225048"/>
                <a:gd name="connsiteY2" fmla="*/ 0 h 222423"/>
                <a:gd name="connsiteX3" fmla="*/ 0 w 225048"/>
                <a:gd name="connsiteY3" fmla="*/ 0 h 222423"/>
                <a:gd name="connsiteX4" fmla="*/ 88503 w 225048"/>
                <a:gd name="connsiteY4" fmla="*/ 222424 h 222423"/>
                <a:gd name="connsiteX5" fmla="*/ 136720 w 225048"/>
                <a:gd name="connsiteY5" fmla="*/ 222424 h 222423"/>
                <a:gd name="connsiteX6" fmla="*/ 225049 w 225048"/>
                <a:gd name="connsiteY6" fmla="*/ 0 h 222423"/>
                <a:gd name="connsiteX7" fmla="*/ 169001 w 225048"/>
                <a:gd name="connsiteY7" fmla="*/ 0 h 22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5048" h="222423">
                  <a:moveTo>
                    <a:pt x="169001" y="0"/>
                  </a:moveTo>
                  <a:lnTo>
                    <a:pt x="113215" y="158897"/>
                  </a:lnTo>
                  <a:lnTo>
                    <a:pt x="56600" y="0"/>
                  </a:lnTo>
                  <a:lnTo>
                    <a:pt x="0" y="0"/>
                  </a:lnTo>
                  <a:lnTo>
                    <a:pt x="88503" y="222424"/>
                  </a:lnTo>
                  <a:lnTo>
                    <a:pt x="136720" y="222424"/>
                  </a:lnTo>
                  <a:lnTo>
                    <a:pt x="225049" y="0"/>
                  </a:lnTo>
                  <a:lnTo>
                    <a:pt x="169001" y="0"/>
                  </a:lnTo>
                  <a:close/>
                </a:path>
              </a:pathLst>
            </a:custGeom>
            <a:solidFill>
              <a:srgbClr val="010101"/>
            </a:solidFill>
            <a:ln w="145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A1CC364-F4C8-7844-B75E-97248698E11B}"/>
                </a:ext>
              </a:extLst>
            </p:cNvPr>
            <p:cNvSpPr/>
            <p:nvPr/>
          </p:nvSpPr>
          <p:spPr>
            <a:xfrm>
              <a:off x="2079594" y="-537104"/>
              <a:ext cx="227215" cy="231936"/>
            </a:xfrm>
            <a:custGeom>
              <a:avLst/>
              <a:gdLst>
                <a:gd name="connsiteX0" fmla="*/ 112721 w 227215"/>
                <a:gd name="connsiteY0" fmla="*/ 0 h 231936"/>
                <a:gd name="connsiteX1" fmla="*/ 0 w 227215"/>
                <a:gd name="connsiteY1" fmla="*/ 117527 h 231936"/>
                <a:gd name="connsiteX2" fmla="*/ 114943 w 227215"/>
                <a:gd name="connsiteY2" fmla="*/ 231936 h 231936"/>
                <a:gd name="connsiteX3" fmla="*/ 220211 w 227215"/>
                <a:gd name="connsiteY3" fmla="*/ 158940 h 231936"/>
                <a:gd name="connsiteX4" fmla="*/ 167083 w 227215"/>
                <a:gd name="connsiteY4" fmla="*/ 158940 h 231936"/>
                <a:gd name="connsiteX5" fmla="*/ 115829 w 227215"/>
                <a:gd name="connsiteY5" fmla="*/ 186491 h 231936"/>
                <a:gd name="connsiteX6" fmla="*/ 51690 w 227215"/>
                <a:gd name="connsiteY6" fmla="*/ 134899 h 231936"/>
                <a:gd name="connsiteX7" fmla="*/ 225601 w 227215"/>
                <a:gd name="connsiteY7" fmla="*/ 134899 h 231936"/>
                <a:gd name="connsiteX8" fmla="*/ 227184 w 227215"/>
                <a:gd name="connsiteY8" fmla="*/ 113771 h 231936"/>
                <a:gd name="connsiteX9" fmla="*/ 112721 w 227215"/>
                <a:gd name="connsiteY9" fmla="*/ 0 h 231936"/>
                <a:gd name="connsiteX10" fmla="*/ 51850 w 227215"/>
                <a:gd name="connsiteY10" fmla="*/ 98473 h 231936"/>
                <a:gd name="connsiteX11" fmla="*/ 113200 w 227215"/>
                <a:gd name="connsiteY11" fmla="*/ 45416 h 231936"/>
                <a:gd name="connsiteX12" fmla="*/ 175349 w 227215"/>
                <a:gd name="connsiteY12" fmla="*/ 98473 h 231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7215" h="231936">
                  <a:moveTo>
                    <a:pt x="112721" y="0"/>
                  </a:moveTo>
                  <a:cubicBezTo>
                    <a:pt x="49293" y="0"/>
                    <a:pt x="0" y="50940"/>
                    <a:pt x="0" y="117527"/>
                  </a:cubicBezTo>
                  <a:cubicBezTo>
                    <a:pt x="0" y="178980"/>
                    <a:pt x="48537" y="231936"/>
                    <a:pt x="114943" y="231936"/>
                  </a:cubicBezTo>
                  <a:cubicBezTo>
                    <a:pt x="163451" y="231936"/>
                    <a:pt x="201020" y="204081"/>
                    <a:pt x="220211" y="158940"/>
                  </a:cubicBezTo>
                  <a:lnTo>
                    <a:pt x="167083" y="158940"/>
                  </a:lnTo>
                  <a:cubicBezTo>
                    <a:pt x="155112" y="176820"/>
                    <a:pt x="139074" y="186491"/>
                    <a:pt x="115829" y="186491"/>
                  </a:cubicBezTo>
                  <a:cubicBezTo>
                    <a:pt x="81210" y="186491"/>
                    <a:pt x="58561" y="166191"/>
                    <a:pt x="51690" y="134899"/>
                  </a:cubicBezTo>
                  <a:lnTo>
                    <a:pt x="225601" y="134899"/>
                  </a:lnTo>
                  <a:cubicBezTo>
                    <a:pt x="226825" y="127925"/>
                    <a:pt x="227355" y="120849"/>
                    <a:pt x="227184" y="113771"/>
                  </a:cubicBezTo>
                  <a:cubicBezTo>
                    <a:pt x="226647" y="54000"/>
                    <a:pt x="180696" y="0"/>
                    <a:pt x="112721" y="0"/>
                  </a:cubicBezTo>
                  <a:close/>
                  <a:moveTo>
                    <a:pt x="51850" y="98473"/>
                  </a:moveTo>
                  <a:cubicBezTo>
                    <a:pt x="55598" y="66456"/>
                    <a:pt x="81602" y="45416"/>
                    <a:pt x="113200" y="45416"/>
                  </a:cubicBezTo>
                  <a:cubicBezTo>
                    <a:pt x="146396" y="45416"/>
                    <a:pt x="171630" y="67355"/>
                    <a:pt x="175349" y="98473"/>
                  </a:cubicBezTo>
                  <a:close/>
                </a:path>
              </a:pathLst>
            </a:custGeom>
            <a:solidFill>
              <a:srgbClr val="010101"/>
            </a:solidFill>
            <a:ln w="1452"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6AFBA741-2ACB-D343-81BA-4782D6F3E540}"/>
                </a:ext>
              </a:extLst>
            </p:cNvPr>
            <p:cNvSpPr/>
            <p:nvPr/>
          </p:nvSpPr>
          <p:spPr>
            <a:xfrm>
              <a:off x="918597" y="-622860"/>
              <a:ext cx="543801" cy="312936"/>
            </a:xfrm>
            <a:custGeom>
              <a:avLst/>
              <a:gdLst>
                <a:gd name="connsiteX0" fmla="*/ 494756 w 543801"/>
                <a:gd name="connsiteY0" fmla="*/ 146122 h 312936"/>
                <a:gd name="connsiteX1" fmla="*/ 525351 w 543801"/>
                <a:gd name="connsiteY1" fmla="*/ 84147 h 312936"/>
                <a:gd name="connsiteX2" fmla="*/ 462882 w 543801"/>
                <a:gd name="connsiteY2" fmla="*/ 4191 h 312936"/>
                <a:gd name="connsiteX3" fmla="*/ 418660 w 543801"/>
                <a:gd name="connsiteY3" fmla="*/ 15 h 312936"/>
                <a:gd name="connsiteX4" fmla="*/ 319552 w 543801"/>
                <a:gd name="connsiteY4" fmla="*/ 15 h 312936"/>
                <a:gd name="connsiteX5" fmla="*/ 319552 w 543801"/>
                <a:gd name="connsiteY5" fmla="*/ 132056 h 312936"/>
                <a:gd name="connsiteX6" fmla="*/ 239649 w 543801"/>
                <a:gd name="connsiteY6" fmla="*/ 151299 h 312936"/>
                <a:gd name="connsiteX7" fmla="*/ 177732 w 543801"/>
                <a:gd name="connsiteY7" fmla="*/ 0 h 312936"/>
                <a:gd name="connsiteX8" fmla="*/ 127946 w 543801"/>
                <a:gd name="connsiteY8" fmla="*/ 0 h 312936"/>
                <a:gd name="connsiteX9" fmla="*/ 0 w 543801"/>
                <a:gd name="connsiteY9" fmla="*/ 312936 h 312936"/>
                <a:gd name="connsiteX10" fmla="*/ 52198 w 543801"/>
                <a:gd name="connsiteY10" fmla="*/ 312936 h 312936"/>
                <a:gd name="connsiteX11" fmla="*/ 207252 w 543801"/>
                <a:gd name="connsiteY11" fmla="*/ 208532 h 312936"/>
                <a:gd name="connsiteX12" fmla="*/ 246477 w 543801"/>
                <a:gd name="connsiteY12" fmla="*/ 312936 h 312936"/>
                <a:gd name="connsiteX13" fmla="*/ 305678 w 543801"/>
                <a:gd name="connsiteY13" fmla="*/ 312936 h 312936"/>
                <a:gd name="connsiteX14" fmla="*/ 256124 w 543801"/>
                <a:gd name="connsiteY14" fmla="*/ 191697 h 312936"/>
                <a:gd name="connsiteX15" fmla="*/ 319552 w 543801"/>
                <a:gd name="connsiteY15" fmla="*/ 178139 h 312936"/>
                <a:gd name="connsiteX16" fmla="*/ 319552 w 543801"/>
                <a:gd name="connsiteY16" fmla="*/ 312893 h 312936"/>
                <a:gd name="connsiteX17" fmla="*/ 346486 w 543801"/>
                <a:gd name="connsiteY17" fmla="*/ 312893 h 312936"/>
                <a:gd name="connsiteX18" fmla="*/ 346486 w 543801"/>
                <a:gd name="connsiteY18" fmla="*/ 312893 h 312936"/>
                <a:gd name="connsiteX19" fmla="*/ 441091 w 543801"/>
                <a:gd name="connsiteY19" fmla="*/ 312893 h 312936"/>
                <a:gd name="connsiteX20" fmla="*/ 543802 w 543801"/>
                <a:gd name="connsiteY20" fmla="*/ 221539 h 312936"/>
                <a:gd name="connsiteX21" fmla="*/ 494756 w 543801"/>
                <a:gd name="connsiteY21" fmla="*/ 146122 h 312936"/>
                <a:gd name="connsiteX22" fmla="*/ 82546 w 543801"/>
                <a:gd name="connsiteY22" fmla="*/ 241826 h 312936"/>
                <a:gd name="connsiteX23" fmla="*/ 152280 w 543801"/>
                <a:gd name="connsiteY23" fmla="*/ 61874 h 312936"/>
                <a:gd name="connsiteX24" fmla="*/ 192797 w 543801"/>
                <a:gd name="connsiteY24" fmla="*/ 169772 h 312936"/>
                <a:gd name="connsiteX25" fmla="*/ 82546 w 543801"/>
                <a:gd name="connsiteY25" fmla="*/ 241855 h 312936"/>
                <a:gd name="connsiteX26" fmla="*/ 373232 w 543801"/>
                <a:gd name="connsiteY26" fmla="*/ 49128 h 312936"/>
                <a:gd name="connsiteX27" fmla="*/ 419270 w 543801"/>
                <a:gd name="connsiteY27" fmla="*/ 49128 h 312936"/>
                <a:gd name="connsiteX28" fmla="*/ 444650 w 543801"/>
                <a:gd name="connsiteY28" fmla="*/ 52289 h 312936"/>
                <a:gd name="connsiteX29" fmla="*/ 471686 w 543801"/>
                <a:gd name="connsiteY29" fmla="*/ 92339 h 312936"/>
                <a:gd name="connsiteX30" fmla="*/ 446059 w 543801"/>
                <a:gd name="connsiteY30" fmla="*/ 130809 h 312936"/>
                <a:gd name="connsiteX31" fmla="*/ 395720 w 543801"/>
                <a:gd name="connsiteY31" fmla="*/ 126865 h 312936"/>
                <a:gd name="connsiteX32" fmla="*/ 373232 w 543801"/>
                <a:gd name="connsiteY32" fmla="*/ 127213 h 312936"/>
                <a:gd name="connsiteX33" fmla="*/ 437793 w 543801"/>
                <a:gd name="connsiteY33" fmla="*/ 263736 h 312936"/>
                <a:gd name="connsiteX34" fmla="*/ 373232 w 543801"/>
                <a:gd name="connsiteY34" fmla="*/ 263736 h 312936"/>
                <a:gd name="connsiteX35" fmla="*/ 373232 w 543801"/>
                <a:gd name="connsiteY35" fmla="*/ 173833 h 312936"/>
                <a:gd name="connsiteX36" fmla="*/ 397202 w 543801"/>
                <a:gd name="connsiteY36" fmla="*/ 173398 h 312936"/>
                <a:gd name="connsiteX37" fmla="*/ 490078 w 543801"/>
                <a:gd name="connsiteY37" fmla="*/ 221568 h 312936"/>
                <a:gd name="connsiteX38" fmla="*/ 437793 w 543801"/>
                <a:gd name="connsiteY38" fmla="*/ 263779 h 3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43801" h="312936">
                  <a:moveTo>
                    <a:pt x="494756" y="146122"/>
                  </a:moveTo>
                  <a:cubicBezTo>
                    <a:pt x="517361" y="129620"/>
                    <a:pt x="525351" y="104955"/>
                    <a:pt x="525351" y="84147"/>
                  </a:cubicBezTo>
                  <a:cubicBezTo>
                    <a:pt x="525351" y="44270"/>
                    <a:pt x="500654" y="14385"/>
                    <a:pt x="462882" y="4191"/>
                  </a:cubicBezTo>
                  <a:cubicBezTo>
                    <a:pt x="453090" y="1566"/>
                    <a:pt x="437183" y="15"/>
                    <a:pt x="418660" y="15"/>
                  </a:cubicBezTo>
                  <a:lnTo>
                    <a:pt x="319552" y="15"/>
                  </a:lnTo>
                  <a:lnTo>
                    <a:pt x="319552" y="132056"/>
                  </a:lnTo>
                  <a:cubicBezTo>
                    <a:pt x="292413" y="136165"/>
                    <a:pt x="265679" y="142603"/>
                    <a:pt x="239649" y="151299"/>
                  </a:cubicBezTo>
                  <a:lnTo>
                    <a:pt x="177732" y="0"/>
                  </a:lnTo>
                  <a:lnTo>
                    <a:pt x="127946" y="0"/>
                  </a:lnTo>
                  <a:lnTo>
                    <a:pt x="0" y="312936"/>
                  </a:lnTo>
                  <a:lnTo>
                    <a:pt x="52198" y="312936"/>
                  </a:lnTo>
                  <a:cubicBezTo>
                    <a:pt x="97321" y="265331"/>
                    <a:pt x="151175" y="231168"/>
                    <a:pt x="207252" y="208532"/>
                  </a:cubicBezTo>
                  <a:lnTo>
                    <a:pt x="246477" y="312936"/>
                  </a:lnTo>
                  <a:lnTo>
                    <a:pt x="305678" y="312936"/>
                  </a:lnTo>
                  <a:lnTo>
                    <a:pt x="256124" y="191697"/>
                  </a:lnTo>
                  <a:cubicBezTo>
                    <a:pt x="276944" y="185787"/>
                    <a:pt x="298133" y="181258"/>
                    <a:pt x="319552" y="178139"/>
                  </a:cubicBezTo>
                  <a:lnTo>
                    <a:pt x="319552" y="312893"/>
                  </a:lnTo>
                  <a:lnTo>
                    <a:pt x="346486" y="312893"/>
                  </a:lnTo>
                  <a:lnTo>
                    <a:pt x="346486" y="312893"/>
                  </a:lnTo>
                  <a:lnTo>
                    <a:pt x="441091" y="312893"/>
                  </a:lnTo>
                  <a:cubicBezTo>
                    <a:pt x="507918" y="312893"/>
                    <a:pt x="543802" y="273741"/>
                    <a:pt x="543802" y="221539"/>
                  </a:cubicBezTo>
                  <a:cubicBezTo>
                    <a:pt x="543802" y="190015"/>
                    <a:pt x="528097" y="163117"/>
                    <a:pt x="494756" y="146122"/>
                  </a:cubicBezTo>
                  <a:close/>
                  <a:moveTo>
                    <a:pt x="82546" y="241826"/>
                  </a:moveTo>
                  <a:lnTo>
                    <a:pt x="152280" y="61874"/>
                  </a:lnTo>
                  <a:lnTo>
                    <a:pt x="192797" y="169772"/>
                  </a:lnTo>
                  <a:cubicBezTo>
                    <a:pt x="150798" y="188986"/>
                    <a:pt x="113432" y="213608"/>
                    <a:pt x="82546" y="241855"/>
                  </a:cubicBezTo>
                  <a:close/>
                  <a:moveTo>
                    <a:pt x="373232" y="49128"/>
                  </a:moveTo>
                  <a:lnTo>
                    <a:pt x="419270" y="49128"/>
                  </a:lnTo>
                  <a:cubicBezTo>
                    <a:pt x="429788" y="49128"/>
                    <a:pt x="438606" y="50317"/>
                    <a:pt x="444650" y="52289"/>
                  </a:cubicBezTo>
                  <a:cubicBezTo>
                    <a:pt x="462083" y="57988"/>
                    <a:pt x="471686" y="71140"/>
                    <a:pt x="471686" y="92339"/>
                  </a:cubicBezTo>
                  <a:cubicBezTo>
                    <a:pt x="471686" y="111973"/>
                    <a:pt x="461778" y="124879"/>
                    <a:pt x="446059" y="130809"/>
                  </a:cubicBezTo>
                  <a:cubicBezTo>
                    <a:pt x="429419" y="128095"/>
                    <a:pt x="412581" y="126776"/>
                    <a:pt x="395720" y="126865"/>
                  </a:cubicBezTo>
                  <a:cubicBezTo>
                    <a:pt x="388718" y="126865"/>
                    <a:pt x="381018" y="126967"/>
                    <a:pt x="373232" y="127213"/>
                  </a:cubicBezTo>
                  <a:close/>
                  <a:moveTo>
                    <a:pt x="437793" y="263736"/>
                  </a:moveTo>
                  <a:lnTo>
                    <a:pt x="373232" y="263736"/>
                  </a:lnTo>
                  <a:lnTo>
                    <a:pt x="373232" y="173833"/>
                  </a:lnTo>
                  <a:cubicBezTo>
                    <a:pt x="381411" y="173485"/>
                    <a:pt x="389445" y="173311"/>
                    <a:pt x="397202" y="173398"/>
                  </a:cubicBezTo>
                  <a:cubicBezTo>
                    <a:pt x="455923" y="174152"/>
                    <a:pt x="490078" y="191219"/>
                    <a:pt x="490078" y="221568"/>
                  </a:cubicBezTo>
                  <a:cubicBezTo>
                    <a:pt x="490078" y="248887"/>
                    <a:pt x="465613" y="263779"/>
                    <a:pt x="437793" y="263779"/>
                  </a:cubicBezTo>
                  <a:close/>
                </a:path>
              </a:pathLst>
            </a:custGeom>
            <a:solidFill>
              <a:srgbClr val="010101"/>
            </a:solidFill>
            <a:ln w="1452" cap="flat">
              <a:noFill/>
              <a:prstDash val="solid"/>
              <a:miter/>
            </a:ln>
          </p:spPr>
          <p:txBody>
            <a:bodyPr rtlCol="0" anchor="ctr"/>
            <a:lstStyle/>
            <a:p>
              <a:endParaRPr lang="en-US"/>
            </a:p>
          </p:txBody>
        </p:sp>
      </p:grpSp>
      <p:sp>
        <p:nvSpPr>
          <p:cNvPr id="3" name="Text Placeholder 2">
            <a:extLst>
              <a:ext uri="{FF2B5EF4-FFF2-40B4-BE49-F238E27FC236}">
                <a16:creationId xmlns:a16="http://schemas.microsoft.com/office/drawing/2014/main" id="{63E281CD-A54D-3442-B2F6-DCC90535935E}"/>
              </a:ext>
            </a:extLst>
          </p:cNvPr>
          <p:cNvSpPr>
            <a:spLocks noGrp="1"/>
          </p:cNvSpPr>
          <p:nvPr>
            <p:ph type="body" sz="quarter" idx="11" hasCustomPrompt="1"/>
          </p:nvPr>
        </p:nvSpPr>
        <p:spPr>
          <a:xfrm>
            <a:off x="457199" y="5807699"/>
            <a:ext cx="3045759" cy="184944"/>
          </a:xfrm>
        </p:spPr>
        <p:txBody>
          <a:bodyPr rIns="0" anchor="b"/>
          <a:lstStyle>
            <a:lvl1pPr algn="l">
              <a:defRPr lang="en-US" sz="1200" b="1" kern="1200" baseline="0" dirty="0" smtClean="0">
                <a:solidFill>
                  <a:schemeClr val="tx2"/>
                </a:solidFill>
                <a:latin typeface="Arial" panose="020B0604020202020204" pitchFamily="34" charset="0"/>
                <a:ea typeface="+mn-ea"/>
                <a:cs typeface="Arial" panose="020B0604020202020204" pitchFamily="34" charset="0"/>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Subtitle Goes Here</a:t>
            </a:r>
          </a:p>
        </p:txBody>
      </p:sp>
      <p:sp>
        <p:nvSpPr>
          <p:cNvPr id="13" name="Text Placeholder 2">
            <a:extLst>
              <a:ext uri="{FF2B5EF4-FFF2-40B4-BE49-F238E27FC236}">
                <a16:creationId xmlns:a16="http://schemas.microsoft.com/office/drawing/2014/main" id="{F444DE9C-F571-BB4C-9C1C-7332F4140BF6}"/>
              </a:ext>
            </a:extLst>
          </p:cNvPr>
          <p:cNvSpPr>
            <a:spLocks noGrp="1"/>
          </p:cNvSpPr>
          <p:nvPr>
            <p:ph type="body" sz="quarter" idx="12" hasCustomPrompt="1"/>
          </p:nvPr>
        </p:nvSpPr>
        <p:spPr>
          <a:xfrm>
            <a:off x="457200" y="5985930"/>
            <a:ext cx="3045758" cy="184944"/>
          </a:xfrm>
        </p:spPr>
        <p:txBody>
          <a:bodyPr rIns="0" anchor="b"/>
          <a:lstStyle>
            <a:lvl1pPr algn="l">
              <a:defRPr lang="en-US" sz="1200" b="0" kern="1200" baseline="0" dirty="0">
                <a:solidFill>
                  <a:schemeClr val="bg1"/>
                </a:solidFill>
                <a:latin typeface="+mn-lt"/>
                <a:ea typeface="+mn-ea"/>
                <a:cs typeface="+mn-cs"/>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00.00.0000</a:t>
            </a:r>
          </a:p>
        </p:txBody>
      </p:sp>
      <p:sp>
        <p:nvSpPr>
          <p:cNvPr id="4" name="Text Placeholder 3">
            <a:extLst>
              <a:ext uri="{FF2B5EF4-FFF2-40B4-BE49-F238E27FC236}">
                <a16:creationId xmlns:a16="http://schemas.microsoft.com/office/drawing/2014/main" id="{4C1B3CE5-5669-E845-98B1-856DE736BC17}"/>
              </a:ext>
            </a:extLst>
          </p:cNvPr>
          <p:cNvSpPr>
            <a:spLocks noGrp="1"/>
          </p:cNvSpPr>
          <p:nvPr>
            <p:ph type="body" sz="quarter" idx="10" hasCustomPrompt="1"/>
          </p:nvPr>
        </p:nvSpPr>
        <p:spPr>
          <a:xfrm>
            <a:off x="457200" y="2526233"/>
            <a:ext cx="6204930" cy="2097587"/>
          </a:xfrm>
        </p:spPr>
        <p:txBody>
          <a:bodyPr rIns="0" anchor="ctr"/>
          <a:lstStyle>
            <a:lvl1pPr algn="l">
              <a:lnSpc>
                <a:spcPct val="80000"/>
              </a:lnSpc>
              <a:defRPr kumimoji="0" lang="en-US" sz="5600" b="1" i="0" u="none" strike="noStrike" kern="1200" cap="none" spc="0" normalizeH="0" baseline="0" dirty="0">
                <a:ln>
                  <a:noFill/>
                </a:ln>
                <a:solidFill>
                  <a:schemeClr val="bg1"/>
                </a:solidFill>
                <a:effectLst/>
                <a:uLnTx/>
                <a:uFillTx/>
                <a:latin typeface="Arial" panose="020B0604020202020204"/>
                <a:ea typeface="+mj-ea"/>
                <a:cs typeface="Arial" panose="020B0604020202020204" pitchFamily="34" charset="0"/>
              </a:defRPr>
            </a:lvl1pPr>
          </a:lstStyle>
          <a:p>
            <a:pPr lvl="0"/>
            <a:r>
              <a:rPr lang="en-US"/>
              <a:t>Two or Three-Line Presentation Title Goes Here</a:t>
            </a:r>
          </a:p>
        </p:txBody>
      </p:sp>
    </p:spTree>
    <p:extLst>
      <p:ext uri="{BB962C8B-B14F-4D97-AF65-F5344CB8AC3E}">
        <p14:creationId xmlns:p14="http://schemas.microsoft.com/office/powerpoint/2010/main" val="17159638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29B0560-845B-1348-B658-3A9B6B3D984B}"/>
              </a:ext>
            </a:extLst>
          </p:cNvPr>
          <p:cNvSpPr/>
          <p:nvPr userDrawn="1"/>
        </p:nvSpPr>
        <p:spPr>
          <a:xfrm>
            <a:off x="0" y="0"/>
            <a:ext cx="12192000" cy="6858000"/>
          </a:xfrm>
          <a:prstGeom prst="rect">
            <a:avLst/>
          </a:prstGeom>
          <a:gradFill>
            <a:gsLst>
              <a:gs pos="0">
                <a:srgbClr val="D1A33C"/>
              </a:gs>
              <a:gs pos="100000">
                <a:srgbClr val="F2D71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3">
            <a:extLst>
              <a:ext uri="{FF2B5EF4-FFF2-40B4-BE49-F238E27FC236}">
                <a16:creationId xmlns:a16="http://schemas.microsoft.com/office/drawing/2014/main" id="{65991922-1466-5740-AA74-D6B8D25859B7}"/>
              </a:ext>
            </a:extLst>
          </p:cNvPr>
          <p:cNvSpPr>
            <a:spLocks noGrp="1"/>
          </p:cNvSpPr>
          <p:nvPr>
            <p:ph type="body" sz="quarter" idx="10" hasCustomPrompt="1"/>
          </p:nvPr>
        </p:nvSpPr>
        <p:spPr>
          <a:xfrm>
            <a:off x="530098" y="1385210"/>
            <a:ext cx="10797540" cy="4087580"/>
          </a:xfrm>
        </p:spPr>
        <p:txBody>
          <a:bodyPr rIns="0" anchor="ctr"/>
          <a:lstStyle>
            <a:lvl1pPr algn="l">
              <a:lnSpc>
                <a:spcPct val="80000"/>
              </a:lnSpc>
              <a:spcAft>
                <a:spcPts val="0"/>
              </a:spcAft>
              <a:defRPr lang="en-US" sz="6800" kern="1200" dirty="0">
                <a:solidFill>
                  <a:schemeClr val="tx1"/>
                </a:solidFill>
                <a:latin typeface="Arial" panose="020B0604020202020204" pitchFamily="34" charset="0"/>
                <a:ea typeface="+mj-ea"/>
                <a:cs typeface="Arial" panose="020B0604020202020204" pitchFamily="34" charset="0"/>
              </a:defRPr>
            </a:lvl1pPr>
          </a:lstStyle>
          <a:p>
            <a:pPr lvl="0"/>
            <a:r>
              <a:rPr lang="en-US"/>
              <a:t>Quote or Key Callout</a:t>
            </a:r>
          </a:p>
        </p:txBody>
      </p:sp>
      <p:sp>
        <p:nvSpPr>
          <p:cNvPr id="12" name="Rectangle 11">
            <a:extLst>
              <a:ext uri="{FF2B5EF4-FFF2-40B4-BE49-F238E27FC236}">
                <a16:creationId xmlns:a16="http://schemas.microsoft.com/office/drawing/2014/main" id="{C809C4DD-5B64-984E-809A-051C248D1A2C}"/>
              </a:ext>
            </a:extLst>
          </p:cNvPr>
          <p:cNvSpPr/>
          <p:nvPr userDrawn="1"/>
        </p:nvSpPr>
        <p:spPr>
          <a:xfrm>
            <a:off x="315913" y="323850"/>
            <a:ext cx="11560175" cy="133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5" name="Graphic 14">
            <a:extLst>
              <a:ext uri="{FF2B5EF4-FFF2-40B4-BE49-F238E27FC236}">
                <a16:creationId xmlns:a16="http://schemas.microsoft.com/office/drawing/2014/main" id="{0FDC538C-453C-984C-87FF-534B5D16EC8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043161"/>
            <a:ext cx="1639228" cy="302169"/>
          </a:xfrm>
          <a:prstGeom prst="rect">
            <a:avLst/>
          </a:prstGeom>
        </p:spPr>
      </p:pic>
    </p:spTree>
    <p:extLst>
      <p:ext uri="{BB962C8B-B14F-4D97-AF65-F5344CB8AC3E}">
        <p14:creationId xmlns:p14="http://schemas.microsoft.com/office/powerpoint/2010/main" val="9288161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2E09845-DB5D-024E-85B9-37903AADE4B2}"/>
              </a:ext>
            </a:extLst>
          </p:cNvPr>
          <p:cNvSpPr/>
          <p:nvPr userDrawn="1"/>
        </p:nvSpPr>
        <p:spPr>
          <a:xfrm>
            <a:off x="315913" y="323850"/>
            <a:ext cx="11560175"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3">
            <a:extLst>
              <a:ext uri="{FF2B5EF4-FFF2-40B4-BE49-F238E27FC236}">
                <a16:creationId xmlns:a16="http://schemas.microsoft.com/office/drawing/2014/main" id="{65991922-1466-5740-AA74-D6B8D25859B7}"/>
              </a:ext>
            </a:extLst>
          </p:cNvPr>
          <p:cNvSpPr>
            <a:spLocks noGrp="1"/>
          </p:cNvSpPr>
          <p:nvPr>
            <p:ph type="body" sz="quarter" idx="10" hasCustomPrompt="1"/>
          </p:nvPr>
        </p:nvSpPr>
        <p:spPr>
          <a:xfrm>
            <a:off x="530098" y="1385210"/>
            <a:ext cx="10797540" cy="4087580"/>
          </a:xfrm>
        </p:spPr>
        <p:txBody>
          <a:bodyPr rIns="0" anchor="ctr"/>
          <a:lstStyle>
            <a:lvl1pPr algn="l">
              <a:lnSpc>
                <a:spcPct val="80000"/>
              </a:lnSpc>
              <a:spcAft>
                <a:spcPts val="0"/>
              </a:spcAft>
              <a:defRPr lang="en-US" sz="6800" kern="1200" dirty="0">
                <a:solidFill>
                  <a:schemeClr val="tx1"/>
                </a:solidFill>
                <a:latin typeface="Arial" panose="020B0604020202020204" pitchFamily="34" charset="0"/>
                <a:ea typeface="+mj-ea"/>
                <a:cs typeface="Arial" panose="020B0604020202020204" pitchFamily="34" charset="0"/>
              </a:defRPr>
            </a:lvl1pPr>
          </a:lstStyle>
          <a:p>
            <a:pPr lvl="0"/>
            <a:r>
              <a:rPr lang="en-US"/>
              <a:t>Quote or Key Callout</a:t>
            </a:r>
          </a:p>
        </p:txBody>
      </p:sp>
      <p:pic>
        <p:nvPicPr>
          <p:cNvPr id="15" name="Graphic 14">
            <a:extLst>
              <a:ext uri="{FF2B5EF4-FFF2-40B4-BE49-F238E27FC236}">
                <a16:creationId xmlns:a16="http://schemas.microsoft.com/office/drawing/2014/main" id="{8A0AECFF-4C68-7C49-A99C-8B4DFD8FB2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043161"/>
            <a:ext cx="1639228" cy="302169"/>
          </a:xfrm>
          <a:prstGeom prst="rect">
            <a:avLst/>
          </a:prstGeom>
        </p:spPr>
      </p:pic>
    </p:spTree>
    <p:extLst>
      <p:ext uri="{BB962C8B-B14F-4D97-AF65-F5344CB8AC3E}">
        <p14:creationId xmlns:p14="http://schemas.microsoft.com/office/powerpoint/2010/main" val="32258685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g Statement 3">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5025A29-692B-1648-99EB-06589EE84B74}"/>
              </a:ext>
            </a:extLst>
          </p:cNvPr>
          <p:cNvSpPr/>
          <p:nvPr userDrawn="1"/>
        </p:nvSpPr>
        <p:spPr>
          <a:xfrm>
            <a:off x="0" y="-3"/>
            <a:ext cx="12192000" cy="68580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9D12809-E0FC-FD40-BA1B-5D89A32A5A0B}"/>
              </a:ext>
            </a:extLst>
          </p:cNvPr>
          <p:cNvSpPr/>
          <p:nvPr userDrawn="1"/>
        </p:nvSpPr>
        <p:spPr>
          <a:xfrm>
            <a:off x="315913" y="323850"/>
            <a:ext cx="11560175"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3">
            <a:extLst>
              <a:ext uri="{FF2B5EF4-FFF2-40B4-BE49-F238E27FC236}">
                <a16:creationId xmlns:a16="http://schemas.microsoft.com/office/drawing/2014/main" id="{65991922-1466-5740-AA74-D6B8D25859B7}"/>
              </a:ext>
            </a:extLst>
          </p:cNvPr>
          <p:cNvSpPr>
            <a:spLocks noGrp="1"/>
          </p:cNvSpPr>
          <p:nvPr>
            <p:ph type="body" sz="quarter" idx="10" hasCustomPrompt="1"/>
          </p:nvPr>
        </p:nvSpPr>
        <p:spPr>
          <a:xfrm>
            <a:off x="530098" y="1385210"/>
            <a:ext cx="10797540" cy="4087580"/>
          </a:xfrm>
        </p:spPr>
        <p:txBody>
          <a:bodyPr rIns="0" anchor="ctr"/>
          <a:lstStyle>
            <a:lvl1pPr algn="l">
              <a:lnSpc>
                <a:spcPct val="80000"/>
              </a:lnSpc>
              <a:spcAft>
                <a:spcPts val="0"/>
              </a:spcAft>
              <a:defRPr lang="en-US" sz="6800" kern="1200" dirty="0">
                <a:solidFill>
                  <a:schemeClr val="bg1"/>
                </a:solidFill>
                <a:latin typeface="Arial" panose="020B0604020202020204" pitchFamily="34" charset="0"/>
                <a:ea typeface="+mj-ea"/>
                <a:cs typeface="Arial" panose="020B0604020202020204" pitchFamily="34" charset="0"/>
              </a:defRPr>
            </a:lvl1pPr>
          </a:lstStyle>
          <a:p>
            <a:pPr lvl="0"/>
            <a:r>
              <a:rPr lang="en-US"/>
              <a:t>Quote or Key Callout</a:t>
            </a:r>
          </a:p>
        </p:txBody>
      </p:sp>
      <p:pic>
        <p:nvPicPr>
          <p:cNvPr id="16" name="Graphic 15">
            <a:extLst>
              <a:ext uri="{FF2B5EF4-FFF2-40B4-BE49-F238E27FC236}">
                <a16:creationId xmlns:a16="http://schemas.microsoft.com/office/drawing/2014/main" id="{0FE6B1B0-D2AE-F240-84B0-FAEDCA7842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042624"/>
            <a:ext cx="1639229" cy="302169"/>
          </a:xfrm>
          <a:prstGeom prst="rect">
            <a:avLst/>
          </a:prstGeom>
        </p:spPr>
      </p:pic>
    </p:spTree>
    <p:extLst>
      <p:ext uri="{BB962C8B-B14F-4D97-AF65-F5344CB8AC3E}">
        <p14:creationId xmlns:p14="http://schemas.microsoft.com/office/powerpoint/2010/main" val="29319950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dy Slide 1 Column Whit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59D9588-0A02-3A40-BF37-BC5483B6FF4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46164"/>
          <a:stretch/>
        </p:blipFill>
        <p:spPr>
          <a:xfrm>
            <a:off x="289645" y="6209608"/>
            <a:ext cx="842722" cy="288548"/>
          </a:xfrm>
          <a:prstGeom prst="rect">
            <a:avLst/>
          </a:prstGeom>
        </p:spPr>
      </p:pic>
      <p:sp>
        <p:nvSpPr>
          <p:cNvPr id="2" name="Title 1">
            <a:extLst>
              <a:ext uri="{FF2B5EF4-FFF2-40B4-BE49-F238E27FC236}">
                <a16:creationId xmlns:a16="http://schemas.microsoft.com/office/drawing/2014/main" id="{3209486B-ABA7-A84B-BC25-77FA66F53FF7}"/>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7D5CB28E-DD09-A349-823A-EC35B37D1242}"/>
              </a:ext>
            </a:extLst>
          </p:cNvPr>
          <p:cNvSpPr>
            <a:spLocks noGrp="1"/>
          </p:cNvSpPr>
          <p:nvPr>
            <p:ph type="sldNum" sz="quarter" idx="10"/>
          </p:nvPr>
        </p:nvSpPr>
        <p:spPr/>
        <p:txBody>
          <a:bodyPr/>
          <a:lstStyle>
            <a:lvl1pPr>
              <a:defRPr lang="en-US" smtClean="0">
                <a:solidFill>
                  <a:schemeClr val="tx1"/>
                </a:solidFill>
              </a:defRPr>
            </a:lvl1pPr>
          </a:lstStyle>
          <a:p>
            <a:fld id="{99E61589-955B-3549-AD19-CD847E0672FB}" type="slidenum">
              <a:rPr lang="en-US" smtClean="0"/>
              <a:pPr/>
              <a:t>‹#›</a:t>
            </a:fld>
            <a:endParaRPr lang="en-US"/>
          </a:p>
        </p:txBody>
      </p:sp>
      <p:sp>
        <p:nvSpPr>
          <p:cNvPr id="4" name="Text Placeholder 2">
            <a:extLst>
              <a:ext uri="{FF2B5EF4-FFF2-40B4-BE49-F238E27FC236}">
                <a16:creationId xmlns:a16="http://schemas.microsoft.com/office/drawing/2014/main" id="{EA5C258E-E3DF-0142-B6C8-27E98D44CD98}"/>
              </a:ext>
            </a:extLst>
          </p:cNvPr>
          <p:cNvSpPr>
            <a:spLocks noGrp="1"/>
          </p:cNvSpPr>
          <p:nvPr>
            <p:ph idx="1"/>
          </p:nvPr>
        </p:nvSpPr>
        <p:spPr>
          <a:xfrm>
            <a:off x="315913" y="2091021"/>
            <a:ext cx="11418886" cy="3776380"/>
          </a:xfrm>
          <a:prstGeom prst="rect">
            <a:avLst/>
          </a:prstGeom>
        </p:spPr>
        <p:txBody>
          <a:bodyPr vert="horz" lIns="0" tIns="0" rIns="9144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Rectangle 4">
            <a:extLst>
              <a:ext uri="{FF2B5EF4-FFF2-40B4-BE49-F238E27FC236}">
                <a16:creationId xmlns:a16="http://schemas.microsoft.com/office/drawing/2014/main" id="{2F024D3E-3955-C842-A83E-0CE0E671A1C1}"/>
              </a:ext>
            </a:extLst>
          </p:cNvPr>
          <p:cNvSpPr/>
          <p:nvPr userDrawn="1"/>
        </p:nvSpPr>
        <p:spPr>
          <a:xfrm>
            <a:off x="315913" y="323850"/>
            <a:ext cx="11560175"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45740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dy Slide 2 Column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9486B-ABA7-A84B-BC25-77FA66F53FF7}"/>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7D5CB28E-DD09-A349-823A-EC35B37D1242}"/>
              </a:ext>
            </a:extLst>
          </p:cNvPr>
          <p:cNvSpPr>
            <a:spLocks noGrp="1"/>
          </p:cNvSpPr>
          <p:nvPr>
            <p:ph type="sldNum" sz="quarter" idx="10"/>
          </p:nvPr>
        </p:nvSpPr>
        <p:spPr/>
        <p:txBody>
          <a:bodyPr/>
          <a:lstStyle>
            <a:lvl1pPr>
              <a:defRPr lang="en-US" smtClean="0">
                <a:solidFill>
                  <a:schemeClr val="tx1"/>
                </a:solidFill>
              </a:defRPr>
            </a:lvl1pPr>
          </a:lstStyle>
          <a:p>
            <a:fld id="{99E61589-955B-3549-AD19-CD847E0672FB}" type="slidenum">
              <a:rPr lang="en-US" smtClean="0"/>
              <a:pPr/>
              <a:t>‹#›</a:t>
            </a:fld>
            <a:endParaRPr lang="en-US"/>
          </a:p>
        </p:txBody>
      </p:sp>
      <p:sp>
        <p:nvSpPr>
          <p:cNvPr id="4" name="Text Placeholder 2">
            <a:extLst>
              <a:ext uri="{FF2B5EF4-FFF2-40B4-BE49-F238E27FC236}">
                <a16:creationId xmlns:a16="http://schemas.microsoft.com/office/drawing/2014/main" id="{EA5C258E-E3DF-0142-B6C8-27E98D44CD98}"/>
              </a:ext>
            </a:extLst>
          </p:cNvPr>
          <p:cNvSpPr>
            <a:spLocks noGrp="1"/>
          </p:cNvSpPr>
          <p:nvPr>
            <p:ph idx="1"/>
          </p:nvPr>
        </p:nvSpPr>
        <p:spPr>
          <a:xfrm>
            <a:off x="315913" y="2091021"/>
            <a:ext cx="5554309" cy="3776380"/>
          </a:xfrm>
          <a:prstGeom prst="rect">
            <a:avLst/>
          </a:prstGeom>
        </p:spPr>
        <p:txBody>
          <a:bodyPr vert="horz" lIns="0" tIns="0" rIns="9144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Rectangle 4">
            <a:extLst>
              <a:ext uri="{FF2B5EF4-FFF2-40B4-BE49-F238E27FC236}">
                <a16:creationId xmlns:a16="http://schemas.microsoft.com/office/drawing/2014/main" id="{2F024D3E-3955-C842-A83E-0CE0E671A1C1}"/>
              </a:ext>
            </a:extLst>
          </p:cNvPr>
          <p:cNvSpPr/>
          <p:nvPr userDrawn="1"/>
        </p:nvSpPr>
        <p:spPr>
          <a:xfrm>
            <a:off x="315913" y="323850"/>
            <a:ext cx="11560175"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2">
            <a:extLst>
              <a:ext uri="{FF2B5EF4-FFF2-40B4-BE49-F238E27FC236}">
                <a16:creationId xmlns:a16="http://schemas.microsoft.com/office/drawing/2014/main" id="{50D889AA-5CBC-E34F-837C-59E23750EA54}"/>
              </a:ext>
            </a:extLst>
          </p:cNvPr>
          <p:cNvSpPr>
            <a:spLocks noGrp="1"/>
          </p:cNvSpPr>
          <p:nvPr>
            <p:ph idx="11"/>
          </p:nvPr>
        </p:nvSpPr>
        <p:spPr>
          <a:xfrm>
            <a:off x="6180490" y="2091021"/>
            <a:ext cx="5554309" cy="3776380"/>
          </a:xfrm>
          <a:prstGeom prst="rect">
            <a:avLst/>
          </a:prstGeom>
        </p:spPr>
        <p:txBody>
          <a:bodyPr vert="horz" lIns="0" tIns="0" rIns="9144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Graphic 7">
            <a:extLst>
              <a:ext uri="{FF2B5EF4-FFF2-40B4-BE49-F238E27FC236}">
                <a16:creationId xmlns:a16="http://schemas.microsoft.com/office/drawing/2014/main" id="{C466BE7B-AA02-B944-A4CA-F65E2090527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46164"/>
          <a:stretch/>
        </p:blipFill>
        <p:spPr>
          <a:xfrm>
            <a:off x="289645" y="6209608"/>
            <a:ext cx="842722" cy="288548"/>
          </a:xfrm>
          <a:prstGeom prst="rect">
            <a:avLst/>
          </a:prstGeom>
        </p:spPr>
      </p:pic>
    </p:spTree>
    <p:extLst>
      <p:ext uri="{BB962C8B-B14F-4D97-AF65-F5344CB8AC3E}">
        <p14:creationId xmlns:p14="http://schemas.microsoft.com/office/powerpoint/2010/main" val="40756315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ody Slide 3 Column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9486B-ABA7-A84B-BC25-77FA66F53FF7}"/>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7D5CB28E-DD09-A349-823A-EC35B37D1242}"/>
              </a:ext>
            </a:extLst>
          </p:cNvPr>
          <p:cNvSpPr>
            <a:spLocks noGrp="1"/>
          </p:cNvSpPr>
          <p:nvPr>
            <p:ph type="sldNum" sz="quarter" idx="10"/>
          </p:nvPr>
        </p:nvSpPr>
        <p:spPr/>
        <p:txBody>
          <a:bodyPr/>
          <a:lstStyle>
            <a:lvl1pPr>
              <a:defRPr lang="en-US" smtClean="0">
                <a:solidFill>
                  <a:schemeClr val="tx1"/>
                </a:solidFill>
              </a:defRPr>
            </a:lvl1pPr>
          </a:lstStyle>
          <a:p>
            <a:fld id="{99E61589-955B-3549-AD19-CD847E0672FB}" type="slidenum">
              <a:rPr lang="en-US" smtClean="0"/>
              <a:pPr/>
              <a:t>‹#›</a:t>
            </a:fld>
            <a:endParaRPr lang="en-US"/>
          </a:p>
        </p:txBody>
      </p:sp>
      <p:sp>
        <p:nvSpPr>
          <p:cNvPr id="4" name="Text Placeholder 2">
            <a:extLst>
              <a:ext uri="{FF2B5EF4-FFF2-40B4-BE49-F238E27FC236}">
                <a16:creationId xmlns:a16="http://schemas.microsoft.com/office/drawing/2014/main" id="{EA5C258E-E3DF-0142-B6C8-27E98D44CD98}"/>
              </a:ext>
            </a:extLst>
          </p:cNvPr>
          <p:cNvSpPr>
            <a:spLocks noGrp="1"/>
          </p:cNvSpPr>
          <p:nvPr>
            <p:ph idx="1"/>
          </p:nvPr>
        </p:nvSpPr>
        <p:spPr>
          <a:xfrm>
            <a:off x="315914" y="2091021"/>
            <a:ext cx="3623908" cy="3776380"/>
          </a:xfrm>
          <a:prstGeom prst="rect">
            <a:avLst/>
          </a:prstGeom>
        </p:spPr>
        <p:txBody>
          <a:bodyPr vert="horz" lIns="0" tIns="0" rIns="9144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Rectangle 4">
            <a:extLst>
              <a:ext uri="{FF2B5EF4-FFF2-40B4-BE49-F238E27FC236}">
                <a16:creationId xmlns:a16="http://schemas.microsoft.com/office/drawing/2014/main" id="{2F024D3E-3955-C842-A83E-0CE0E671A1C1}"/>
              </a:ext>
            </a:extLst>
          </p:cNvPr>
          <p:cNvSpPr/>
          <p:nvPr userDrawn="1"/>
        </p:nvSpPr>
        <p:spPr>
          <a:xfrm>
            <a:off x="315913" y="323850"/>
            <a:ext cx="11560175"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2">
            <a:extLst>
              <a:ext uri="{FF2B5EF4-FFF2-40B4-BE49-F238E27FC236}">
                <a16:creationId xmlns:a16="http://schemas.microsoft.com/office/drawing/2014/main" id="{30D302E4-CB51-364E-8E8E-5E17C7CFFE6C}"/>
              </a:ext>
            </a:extLst>
          </p:cNvPr>
          <p:cNvSpPr>
            <a:spLocks noGrp="1"/>
          </p:cNvSpPr>
          <p:nvPr>
            <p:ph idx="11"/>
          </p:nvPr>
        </p:nvSpPr>
        <p:spPr>
          <a:xfrm>
            <a:off x="4213402" y="2099242"/>
            <a:ext cx="3623908" cy="3776380"/>
          </a:xfrm>
          <a:prstGeom prst="rect">
            <a:avLst/>
          </a:prstGeom>
        </p:spPr>
        <p:txBody>
          <a:bodyPr vert="horz" lIns="0" tIns="0" rIns="9144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2">
            <a:extLst>
              <a:ext uri="{FF2B5EF4-FFF2-40B4-BE49-F238E27FC236}">
                <a16:creationId xmlns:a16="http://schemas.microsoft.com/office/drawing/2014/main" id="{3F78666D-BE62-7E45-A427-40475F7ADA08}"/>
              </a:ext>
            </a:extLst>
          </p:cNvPr>
          <p:cNvSpPr>
            <a:spLocks noGrp="1"/>
          </p:cNvSpPr>
          <p:nvPr>
            <p:ph idx="12"/>
          </p:nvPr>
        </p:nvSpPr>
        <p:spPr>
          <a:xfrm>
            <a:off x="8110891" y="2099242"/>
            <a:ext cx="3623908" cy="3776380"/>
          </a:xfrm>
          <a:prstGeom prst="rect">
            <a:avLst/>
          </a:prstGeom>
        </p:spPr>
        <p:txBody>
          <a:bodyPr vert="horz" lIns="0" tIns="0" rIns="9144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9" name="Graphic 8">
            <a:extLst>
              <a:ext uri="{FF2B5EF4-FFF2-40B4-BE49-F238E27FC236}">
                <a16:creationId xmlns:a16="http://schemas.microsoft.com/office/drawing/2014/main" id="{B854B7CD-F6A9-7549-BDCD-2CD44121B84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46164"/>
          <a:stretch/>
        </p:blipFill>
        <p:spPr>
          <a:xfrm>
            <a:off x="289645" y="6209608"/>
            <a:ext cx="842722" cy="288548"/>
          </a:xfrm>
          <a:prstGeom prst="rect">
            <a:avLst/>
          </a:prstGeom>
        </p:spPr>
      </p:pic>
    </p:spTree>
    <p:extLst>
      <p:ext uri="{BB962C8B-B14F-4D97-AF65-F5344CB8AC3E}">
        <p14:creationId xmlns:p14="http://schemas.microsoft.com/office/powerpoint/2010/main" val="12789205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dy Slide 1 Column Blac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7CF258E-6401-DF43-950C-34585654BC40}"/>
              </a:ext>
            </a:extLst>
          </p:cNvPr>
          <p:cNvSpPr/>
          <p:nvPr userDrawn="1"/>
        </p:nvSpPr>
        <p:spPr>
          <a:xfrm>
            <a:off x="0" y="-3"/>
            <a:ext cx="12192000" cy="68580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09486B-ABA7-A84B-BC25-77FA66F53FF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7D5CB28E-DD09-A349-823A-EC35B37D1242}"/>
              </a:ext>
            </a:extLst>
          </p:cNvPr>
          <p:cNvSpPr>
            <a:spLocks noGrp="1"/>
          </p:cNvSpPr>
          <p:nvPr>
            <p:ph type="sldNum" sz="quarter" idx="10"/>
          </p:nvPr>
        </p:nvSpPr>
        <p:spPr/>
        <p:txBody>
          <a:bodyPr/>
          <a:lstStyle>
            <a:lvl1pPr>
              <a:defRPr>
                <a:solidFill>
                  <a:schemeClr val="bg1"/>
                </a:solidFill>
              </a:defRPr>
            </a:lvl1pPr>
          </a:lstStyle>
          <a:p>
            <a:fld id="{99E61589-955B-3549-AD19-CD847E0672FB}" type="slidenum">
              <a:rPr lang="en-US" smtClean="0"/>
              <a:pPr/>
              <a:t>‹#›</a:t>
            </a:fld>
            <a:endParaRPr lang="en-US"/>
          </a:p>
        </p:txBody>
      </p:sp>
      <p:sp>
        <p:nvSpPr>
          <p:cNvPr id="4" name="Text Placeholder 2">
            <a:extLst>
              <a:ext uri="{FF2B5EF4-FFF2-40B4-BE49-F238E27FC236}">
                <a16:creationId xmlns:a16="http://schemas.microsoft.com/office/drawing/2014/main" id="{EA5C258E-E3DF-0142-B6C8-27E98D44CD98}"/>
              </a:ext>
            </a:extLst>
          </p:cNvPr>
          <p:cNvSpPr>
            <a:spLocks noGrp="1"/>
          </p:cNvSpPr>
          <p:nvPr>
            <p:ph idx="1"/>
          </p:nvPr>
        </p:nvSpPr>
        <p:spPr>
          <a:xfrm>
            <a:off x="315913" y="2091021"/>
            <a:ext cx="11418886" cy="3776380"/>
          </a:xfrm>
          <a:prstGeom prst="rect">
            <a:avLst/>
          </a:prstGeom>
        </p:spPr>
        <p:txBody>
          <a:bodyPr vert="horz" lIns="0" tIns="0" rIns="9144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Rectangle 4">
            <a:extLst>
              <a:ext uri="{FF2B5EF4-FFF2-40B4-BE49-F238E27FC236}">
                <a16:creationId xmlns:a16="http://schemas.microsoft.com/office/drawing/2014/main" id="{2F024D3E-3955-C842-A83E-0CE0E671A1C1}"/>
              </a:ext>
            </a:extLst>
          </p:cNvPr>
          <p:cNvSpPr/>
          <p:nvPr userDrawn="1"/>
        </p:nvSpPr>
        <p:spPr>
          <a:xfrm>
            <a:off x="315913" y="323850"/>
            <a:ext cx="11560175"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AD70B897-195B-7245-861A-65B35E51C0CE}"/>
              </a:ext>
            </a:extLst>
          </p:cNvPr>
          <p:cNvGrpSpPr/>
          <p:nvPr userDrawn="1"/>
        </p:nvGrpSpPr>
        <p:grpSpPr>
          <a:xfrm>
            <a:off x="289645" y="6209608"/>
            <a:ext cx="842722" cy="288548"/>
            <a:chOff x="289645" y="6209608"/>
            <a:chExt cx="842722" cy="288548"/>
          </a:xfrm>
        </p:grpSpPr>
        <p:pic>
          <p:nvPicPr>
            <p:cNvPr id="10" name="Graphic 9">
              <a:extLst>
                <a:ext uri="{FF2B5EF4-FFF2-40B4-BE49-F238E27FC236}">
                  <a16:creationId xmlns:a16="http://schemas.microsoft.com/office/drawing/2014/main" id="{9AFE8621-F92E-3E41-BF03-A62A339E439E}"/>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80372"/>
            <a:stretch/>
          </p:blipFill>
          <p:spPr>
            <a:xfrm>
              <a:off x="289645" y="6209608"/>
              <a:ext cx="307255" cy="288548"/>
            </a:xfrm>
            <a:prstGeom prst="rect">
              <a:avLst/>
            </a:prstGeom>
          </p:spPr>
        </p:pic>
        <p:pic>
          <p:nvPicPr>
            <p:cNvPr id="11" name="Graphic 10">
              <a:extLst>
                <a:ext uri="{FF2B5EF4-FFF2-40B4-BE49-F238E27FC236}">
                  <a16:creationId xmlns:a16="http://schemas.microsoft.com/office/drawing/2014/main" id="{AAABDB3F-B05A-1748-95B2-C2BDF62C5E9F}"/>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9776" r="46164"/>
            <a:stretch/>
          </p:blipFill>
          <p:spPr>
            <a:xfrm>
              <a:off x="599207" y="6209608"/>
              <a:ext cx="533160" cy="288548"/>
            </a:xfrm>
            <a:prstGeom prst="rect">
              <a:avLst/>
            </a:prstGeom>
          </p:spPr>
        </p:pic>
      </p:grpSp>
    </p:spTree>
    <p:extLst>
      <p:ext uri="{BB962C8B-B14F-4D97-AF65-F5344CB8AC3E}">
        <p14:creationId xmlns:p14="http://schemas.microsoft.com/office/powerpoint/2010/main" val="168477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dy Slide 2 Column 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44A3480-9628-5B46-A1A8-95E6033F21BD}"/>
              </a:ext>
            </a:extLst>
          </p:cNvPr>
          <p:cNvSpPr/>
          <p:nvPr userDrawn="1"/>
        </p:nvSpPr>
        <p:spPr>
          <a:xfrm>
            <a:off x="0" y="-3"/>
            <a:ext cx="12192000" cy="68580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09486B-ABA7-A84B-BC25-77FA66F53FF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7D5CB28E-DD09-A349-823A-EC35B37D1242}"/>
              </a:ext>
            </a:extLst>
          </p:cNvPr>
          <p:cNvSpPr>
            <a:spLocks noGrp="1"/>
          </p:cNvSpPr>
          <p:nvPr>
            <p:ph type="sldNum" sz="quarter" idx="10"/>
          </p:nvPr>
        </p:nvSpPr>
        <p:spPr/>
        <p:txBody>
          <a:bodyPr/>
          <a:lstStyle>
            <a:lvl1pPr>
              <a:defRPr lang="en-US" smtClean="0">
                <a:solidFill>
                  <a:schemeClr val="bg1"/>
                </a:solidFill>
              </a:defRPr>
            </a:lvl1pPr>
          </a:lstStyle>
          <a:p>
            <a:fld id="{99E61589-955B-3549-AD19-CD847E0672FB}" type="slidenum">
              <a:rPr lang="en-US" smtClean="0"/>
              <a:pPr/>
              <a:t>‹#›</a:t>
            </a:fld>
            <a:endParaRPr lang="en-US"/>
          </a:p>
        </p:txBody>
      </p:sp>
      <p:sp>
        <p:nvSpPr>
          <p:cNvPr id="4" name="Text Placeholder 2">
            <a:extLst>
              <a:ext uri="{FF2B5EF4-FFF2-40B4-BE49-F238E27FC236}">
                <a16:creationId xmlns:a16="http://schemas.microsoft.com/office/drawing/2014/main" id="{EA5C258E-E3DF-0142-B6C8-27E98D44CD98}"/>
              </a:ext>
            </a:extLst>
          </p:cNvPr>
          <p:cNvSpPr>
            <a:spLocks noGrp="1"/>
          </p:cNvSpPr>
          <p:nvPr>
            <p:ph idx="1"/>
          </p:nvPr>
        </p:nvSpPr>
        <p:spPr>
          <a:xfrm>
            <a:off x="315913" y="2091021"/>
            <a:ext cx="5554309" cy="3776380"/>
          </a:xfrm>
          <a:prstGeom prst="rect">
            <a:avLst/>
          </a:prstGeom>
        </p:spPr>
        <p:txBody>
          <a:bodyPr vert="horz" lIns="0" tIns="0" rIns="9144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Rectangle 4">
            <a:extLst>
              <a:ext uri="{FF2B5EF4-FFF2-40B4-BE49-F238E27FC236}">
                <a16:creationId xmlns:a16="http://schemas.microsoft.com/office/drawing/2014/main" id="{2F024D3E-3955-C842-A83E-0CE0E671A1C1}"/>
              </a:ext>
            </a:extLst>
          </p:cNvPr>
          <p:cNvSpPr/>
          <p:nvPr userDrawn="1"/>
        </p:nvSpPr>
        <p:spPr>
          <a:xfrm>
            <a:off x="315913" y="323850"/>
            <a:ext cx="11560175"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2">
            <a:extLst>
              <a:ext uri="{FF2B5EF4-FFF2-40B4-BE49-F238E27FC236}">
                <a16:creationId xmlns:a16="http://schemas.microsoft.com/office/drawing/2014/main" id="{50D889AA-5CBC-E34F-837C-59E23750EA54}"/>
              </a:ext>
            </a:extLst>
          </p:cNvPr>
          <p:cNvSpPr>
            <a:spLocks noGrp="1"/>
          </p:cNvSpPr>
          <p:nvPr>
            <p:ph idx="11"/>
          </p:nvPr>
        </p:nvSpPr>
        <p:spPr>
          <a:xfrm>
            <a:off x="6180490" y="2091021"/>
            <a:ext cx="5554309" cy="3776380"/>
          </a:xfrm>
          <a:prstGeom prst="rect">
            <a:avLst/>
          </a:prstGeom>
        </p:spPr>
        <p:txBody>
          <a:bodyPr vert="horz" lIns="0" tIns="0" rIns="9144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11" name="Group 10">
            <a:extLst>
              <a:ext uri="{FF2B5EF4-FFF2-40B4-BE49-F238E27FC236}">
                <a16:creationId xmlns:a16="http://schemas.microsoft.com/office/drawing/2014/main" id="{DA02A656-3E41-2C4D-AAE4-37421CE72187}"/>
              </a:ext>
            </a:extLst>
          </p:cNvPr>
          <p:cNvGrpSpPr/>
          <p:nvPr userDrawn="1"/>
        </p:nvGrpSpPr>
        <p:grpSpPr>
          <a:xfrm>
            <a:off x="289645" y="6209608"/>
            <a:ext cx="842722" cy="288548"/>
            <a:chOff x="289645" y="6209608"/>
            <a:chExt cx="842722" cy="288548"/>
          </a:xfrm>
        </p:grpSpPr>
        <p:pic>
          <p:nvPicPr>
            <p:cNvPr id="12" name="Graphic 11">
              <a:extLst>
                <a:ext uri="{FF2B5EF4-FFF2-40B4-BE49-F238E27FC236}">
                  <a16:creationId xmlns:a16="http://schemas.microsoft.com/office/drawing/2014/main" id="{DA89A4D8-F0EE-EA43-8E3A-BA7DC33F0D2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80372"/>
            <a:stretch/>
          </p:blipFill>
          <p:spPr>
            <a:xfrm>
              <a:off x="289645" y="6209608"/>
              <a:ext cx="307255" cy="288548"/>
            </a:xfrm>
            <a:prstGeom prst="rect">
              <a:avLst/>
            </a:prstGeom>
          </p:spPr>
        </p:pic>
        <p:pic>
          <p:nvPicPr>
            <p:cNvPr id="13" name="Graphic 12">
              <a:extLst>
                <a:ext uri="{FF2B5EF4-FFF2-40B4-BE49-F238E27FC236}">
                  <a16:creationId xmlns:a16="http://schemas.microsoft.com/office/drawing/2014/main" id="{76A89897-8BE7-0B4C-B3E6-DA84EFA5E77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9776" r="46164"/>
            <a:stretch/>
          </p:blipFill>
          <p:spPr>
            <a:xfrm>
              <a:off x="599207" y="6209608"/>
              <a:ext cx="533160" cy="288548"/>
            </a:xfrm>
            <a:prstGeom prst="rect">
              <a:avLst/>
            </a:prstGeom>
          </p:spPr>
        </p:pic>
      </p:grpSp>
    </p:spTree>
    <p:extLst>
      <p:ext uri="{BB962C8B-B14F-4D97-AF65-F5344CB8AC3E}">
        <p14:creationId xmlns:p14="http://schemas.microsoft.com/office/powerpoint/2010/main" val="21386725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dy Slide 3 Column 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E9A474F-C581-D441-A10C-50820635ADC4}"/>
              </a:ext>
            </a:extLst>
          </p:cNvPr>
          <p:cNvSpPr/>
          <p:nvPr userDrawn="1"/>
        </p:nvSpPr>
        <p:spPr>
          <a:xfrm>
            <a:off x="0" y="-3"/>
            <a:ext cx="12192000" cy="68580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09486B-ABA7-A84B-BC25-77FA66F53FF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7D5CB28E-DD09-A349-823A-EC35B37D1242}"/>
              </a:ext>
            </a:extLst>
          </p:cNvPr>
          <p:cNvSpPr>
            <a:spLocks noGrp="1"/>
          </p:cNvSpPr>
          <p:nvPr>
            <p:ph type="sldNum" sz="quarter" idx="10"/>
          </p:nvPr>
        </p:nvSpPr>
        <p:spPr/>
        <p:txBody>
          <a:bodyPr/>
          <a:lstStyle>
            <a:lvl1pPr>
              <a:defRPr lang="en-US" smtClean="0">
                <a:solidFill>
                  <a:schemeClr val="bg1"/>
                </a:solidFill>
              </a:defRPr>
            </a:lvl1pPr>
          </a:lstStyle>
          <a:p>
            <a:fld id="{99E61589-955B-3549-AD19-CD847E0672FB}" type="slidenum">
              <a:rPr lang="en-US" smtClean="0"/>
              <a:pPr/>
              <a:t>‹#›</a:t>
            </a:fld>
            <a:endParaRPr lang="en-US"/>
          </a:p>
        </p:txBody>
      </p:sp>
      <p:sp>
        <p:nvSpPr>
          <p:cNvPr id="4" name="Text Placeholder 2">
            <a:extLst>
              <a:ext uri="{FF2B5EF4-FFF2-40B4-BE49-F238E27FC236}">
                <a16:creationId xmlns:a16="http://schemas.microsoft.com/office/drawing/2014/main" id="{EA5C258E-E3DF-0142-B6C8-27E98D44CD98}"/>
              </a:ext>
            </a:extLst>
          </p:cNvPr>
          <p:cNvSpPr>
            <a:spLocks noGrp="1"/>
          </p:cNvSpPr>
          <p:nvPr>
            <p:ph idx="1"/>
          </p:nvPr>
        </p:nvSpPr>
        <p:spPr>
          <a:xfrm>
            <a:off x="315914" y="2091021"/>
            <a:ext cx="3623908" cy="3776380"/>
          </a:xfrm>
          <a:prstGeom prst="rect">
            <a:avLst/>
          </a:prstGeom>
        </p:spPr>
        <p:txBody>
          <a:bodyPr vert="horz" lIns="0" tIns="0" rIns="9144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Rectangle 4">
            <a:extLst>
              <a:ext uri="{FF2B5EF4-FFF2-40B4-BE49-F238E27FC236}">
                <a16:creationId xmlns:a16="http://schemas.microsoft.com/office/drawing/2014/main" id="{2F024D3E-3955-C842-A83E-0CE0E671A1C1}"/>
              </a:ext>
            </a:extLst>
          </p:cNvPr>
          <p:cNvSpPr/>
          <p:nvPr userDrawn="1"/>
        </p:nvSpPr>
        <p:spPr>
          <a:xfrm>
            <a:off x="315913" y="323850"/>
            <a:ext cx="11560175"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2">
            <a:extLst>
              <a:ext uri="{FF2B5EF4-FFF2-40B4-BE49-F238E27FC236}">
                <a16:creationId xmlns:a16="http://schemas.microsoft.com/office/drawing/2014/main" id="{30D302E4-CB51-364E-8E8E-5E17C7CFFE6C}"/>
              </a:ext>
            </a:extLst>
          </p:cNvPr>
          <p:cNvSpPr>
            <a:spLocks noGrp="1"/>
          </p:cNvSpPr>
          <p:nvPr>
            <p:ph idx="11"/>
          </p:nvPr>
        </p:nvSpPr>
        <p:spPr>
          <a:xfrm>
            <a:off x="4213402" y="2099242"/>
            <a:ext cx="3623908" cy="3776380"/>
          </a:xfrm>
          <a:prstGeom prst="rect">
            <a:avLst/>
          </a:prstGeom>
        </p:spPr>
        <p:txBody>
          <a:bodyPr vert="horz" lIns="0" tIns="0" rIns="9144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2">
            <a:extLst>
              <a:ext uri="{FF2B5EF4-FFF2-40B4-BE49-F238E27FC236}">
                <a16:creationId xmlns:a16="http://schemas.microsoft.com/office/drawing/2014/main" id="{3F78666D-BE62-7E45-A427-40475F7ADA08}"/>
              </a:ext>
            </a:extLst>
          </p:cNvPr>
          <p:cNvSpPr>
            <a:spLocks noGrp="1"/>
          </p:cNvSpPr>
          <p:nvPr>
            <p:ph idx="12"/>
          </p:nvPr>
        </p:nvSpPr>
        <p:spPr>
          <a:xfrm>
            <a:off x="8110891" y="2099242"/>
            <a:ext cx="3623908" cy="3776380"/>
          </a:xfrm>
          <a:prstGeom prst="rect">
            <a:avLst/>
          </a:prstGeom>
        </p:spPr>
        <p:txBody>
          <a:bodyPr vert="horz" lIns="0" tIns="0" rIns="9144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10" name="Group 9">
            <a:extLst>
              <a:ext uri="{FF2B5EF4-FFF2-40B4-BE49-F238E27FC236}">
                <a16:creationId xmlns:a16="http://schemas.microsoft.com/office/drawing/2014/main" id="{5C70A1AF-4442-9648-9B13-665C358F3D57}"/>
              </a:ext>
            </a:extLst>
          </p:cNvPr>
          <p:cNvGrpSpPr/>
          <p:nvPr userDrawn="1"/>
        </p:nvGrpSpPr>
        <p:grpSpPr>
          <a:xfrm>
            <a:off x="289645" y="6209608"/>
            <a:ext cx="842722" cy="288548"/>
            <a:chOff x="289645" y="6209608"/>
            <a:chExt cx="842722" cy="288548"/>
          </a:xfrm>
        </p:grpSpPr>
        <p:pic>
          <p:nvPicPr>
            <p:cNvPr id="11" name="Graphic 10">
              <a:extLst>
                <a:ext uri="{FF2B5EF4-FFF2-40B4-BE49-F238E27FC236}">
                  <a16:creationId xmlns:a16="http://schemas.microsoft.com/office/drawing/2014/main" id="{ABEC6FF5-5B15-9E41-98A4-3FA211302A2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80372"/>
            <a:stretch/>
          </p:blipFill>
          <p:spPr>
            <a:xfrm>
              <a:off x="289645" y="6209608"/>
              <a:ext cx="307255" cy="288548"/>
            </a:xfrm>
            <a:prstGeom prst="rect">
              <a:avLst/>
            </a:prstGeom>
          </p:spPr>
        </p:pic>
        <p:pic>
          <p:nvPicPr>
            <p:cNvPr id="12" name="Graphic 11">
              <a:extLst>
                <a:ext uri="{FF2B5EF4-FFF2-40B4-BE49-F238E27FC236}">
                  <a16:creationId xmlns:a16="http://schemas.microsoft.com/office/drawing/2014/main" id="{E7CBCC60-40BF-6940-A22C-3B6DF8D50132}"/>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9776" r="46164"/>
            <a:stretch/>
          </p:blipFill>
          <p:spPr>
            <a:xfrm>
              <a:off x="599207" y="6209608"/>
              <a:ext cx="533160" cy="288548"/>
            </a:xfrm>
            <a:prstGeom prst="rect">
              <a:avLst/>
            </a:prstGeom>
          </p:spPr>
        </p:pic>
      </p:grpSp>
    </p:spTree>
    <p:extLst>
      <p:ext uri="{BB962C8B-B14F-4D97-AF65-F5344CB8AC3E}">
        <p14:creationId xmlns:p14="http://schemas.microsoft.com/office/powerpoint/2010/main" val="26105841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dy Slide Minimal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9486B-ABA7-A84B-BC25-77FA66F53FF7}"/>
              </a:ext>
            </a:extLst>
          </p:cNvPr>
          <p:cNvSpPr>
            <a:spLocks noGrp="1"/>
          </p:cNvSpPr>
          <p:nvPr>
            <p:ph type="title"/>
          </p:nvPr>
        </p:nvSpPr>
        <p:spPr>
          <a:xfrm>
            <a:off x="315913" y="319087"/>
            <a:ext cx="11418886" cy="801442"/>
          </a:xfrm>
        </p:spPr>
        <p:txBody>
          <a:bodyPr/>
          <a:lstStyle>
            <a:lvl1pPr>
              <a:defRPr>
                <a:solidFill>
                  <a:schemeClr val="tx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7D5CB28E-DD09-A349-823A-EC35B37D1242}"/>
              </a:ext>
            </a:extLst>
          </p:cNvPr>
          <p:cNvSpPr>
            <a:spLocks noGrp="1"/>
          </p:cNvSpPr>
          <p:nvPr>
            <p:ph type="sldNum" sz="quarter" idx="10"/>
          </p:nvPr>
        </p:nvSpPr>
        <p:spPr/>
        <p:txBody>
          <a:bodyPr/>
          <a:lstStyle>
            <a:lvl1pPr>
              <a:defRPr lang="en-US" smtClean="0">
                <a:solidFill>
                  <a:schemeClr val="tx1"/>
                </a:solidFill>
              </a:defRPr>
            </a:lvl1pPr>
          </a:lstStyle>
          <a:p>
            <a:fld id="{99E61589-955B-3549-AD19-CD847E0672FB}" type="slidenum">
              <a:rPr lang="en-US" smtClean="0"/>
              <a:pPr/>
              <a:t>‹#›</a:t>
            </a:fld>
            <a:endParaRPr lang="en-US"/>
          </a:p>
        </p:txBody>
      </p:sp>
      <p:sp>
        <p:nvSpPr>
          <p:cNvPr id="4" name="Text Placeholder 2">
            <a:extLst>
              <a:ext uri="{FF2B5EF4-FFF2-40B4-BE49-F238E27FC236}">
                <a16:creationId xmlns:a16="http://schemas.microsoft.com/office/drawing/2014/main" id="{EA5C258E-E3DF-0142-B6C8-27E98D44CD98}"/>
              </a:ext>
            </a:extLst>
          </p:cNvPr>
          <p:cNvSpPr>
            <a:spLocks noGrp="1"/>
          </p:cNvSpPr>
          <p:nvPr>
            <p:ph idx="1"/>
          </p:nvPr>
        </p:nvSpPr>
        <p:spPr>
          <a:xfrm>
            <a:off x="315913" y="2091021"/>
            <a:ext cx="11418886" cy="3776380"/>
          </a:xfrm>
          <a:prstGeom prst="rect">
            <a:avLst/>
          </a:prstGeom>
        </p:spPr>
        <p:txBody>
          <a:bodyPr vert="horz" lIns="0" tIns="0" rIns="9144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6" name="Graphic 5">
            <a:extLst>
              <a:ext uri="{FF2B5EF4-FFF2-40B4-BE49-F238E27FC236}">
                <a16:creationId xmlns:a16="http://schemas.microsoft.com/office/drawing/2014/main" id="{15386F56-68A3-D547-8FD3-2A6EE760C53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46164"/>
          <a:stretch/>
        </p:blipFill>
        <p:spPr>
          <a:xfrm>
            <a:off x="289645" y="6209608"/>
            <a:ext cx="842722" cy="288548"/>
          </a:xfrm>
          <a:prstGeom prst="rect">
            <a:avLst/>
          </a:prstGeom>
        </p:spPr>
      </p:pic>
    </p:spTree>
    <p:extLst>
      <p:ext uri="{BB962C8B-B14F-4D97-AF65-F5344CB8AC3E}">
        <p14:creationId xmlns:p14="http://schemas.microsoft.com/office/powerpoint/2010/main" val="40648733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A155C34B-A66B-454E-A049-6BF0F82D4EC4}"/>
              </a:ext>
            </a:extLst>
          </p:cNvPr>
          <p:cNvPicPr>
            <a:picLocks noChangeAspect="1"/>
          </p:cNvPicPr>
          <p:nvPr userDrawn="1"/>
        </p:nvPicPr>
        <p:blipFill rotWithShape="1">
          <a:blip r:embed="rId2"/>
          <a:srcRect l="862" t="16411" r="33166" b="17618"/>
          <a:stretch/>
        </p:blipFill>
        <p:spPr>
          <a:xfrm>
            <a:off x="0" y="0"/>
            <a:ext cx="12192000" cy="6858000"/>
          </a:xfrm>
          <a:prstGeom prst="rect">
            <a:avLst/>
          </a:prstGeom>
        </p:spPr>
      </p:pic>
      <p:grpSp>
        <p:nvGrpSpPr>
          <p:cNvPr id="25" name="Graphic 4">
            <a:extLst>
              <a:ext uri="{FF2B5EF4-FFF2-40B4-BE49-F238E27FC236}">
                <a16:creationId xmlns:a16="http://schemas.microsoft.com/office/drawing/2014/main" id="{7E7758C5-ECC7-B540-BC94-E927D20811EE}"/>
              </a:ext>
            </a:extLst>
          </p:cNvPr>
          <p:cNvGrpSpPr/>
          <p:nvPr userDrawn="1"/>
        </p:nvGrpSpPr>
        <p:grpSpPr>
          <a:xfrm>
            <a:off x="453487" y="610181"/>
            <a:ext cx="2029870" cy="373384"/>
            <a:chOff x="497541" y="-650117"/>
            <a:chExt cx="2029870" cy="373384"/>
          </a:xfrm>
          <a:solidFill>
            <a:srgbClr val="010101"/>
          </a:solidFill>
        </p:grpSpPr>
        <p:sp>
          <p:nvSpPr>
            <p:cNvPr id="26" name="Freeform 25">
              <a:extLst>
                <a:ext uri="{FF2B5EF4-FFF2-40B4-BE49-F238E27FC236}">
                  <a16:creationId xmlns:a16="http://schemas.microsoft.com/office/drawing/2014/main" id="{C0E54352-DA9D-6A45-8DDA-592DA4618DFE}"/>
                </a:ext>
              </a:extLst>
            </p:cNvPr>
            <p:cNvSpPr/>
            <p:nvPr/>
          </p:nvSpPr>
          <p:spPr>
            <a:xfrm>
              <a:off x="497541" y="-650117"/>
              <a:ext cx="375677" cy="373384"/>
            </a:xfrm>
            <a:custGeom>
              <a:avLst/>
              <a:gdLst>
                <a:gd name="connsiteX0" fmla="*/ 187684 w 375677"/>
                <a:gd name="connsiteY0" fmla="*/ 231177 h 373384"/>
                <a:gd name="connsiteX1" fmla="*/ 231092 w 375677"/>
                <a:gd name="connsiteY1" fmla="*/ 370542 h 373384"/>
                <a:gd name="connsiteX2" fmla="*/ 370493 w 375677"/>
                <a:gd name="connsiteY2" fmla="*/ 144178 h 373384"/>
                <a:gd name="connsiteX3" fmla="*/ 311605 w 375677"/>
                <a:gd name="connsiteY3" fmla="*/ 46614 h 373384"/>
                <a:gd name="connsiteX4" fmla="*/ 187684 w 375677"/>
                <a:gd name="connsiteY4" fmla="*/ 231177 h 373384"/>
                <a:gd name="connsiteX5" fmla="*/ 45210 w 375677"/>
                <a:gd name="connsiteY5" fmla="*/ 172958 h 373384"/>
                <a:gd name="connsiteX6" fmla="*/ 220168 w 375677"/>
                <a:gd name="connsiteY6" fmla="*/ 2895 h 373384"/>
                <a:gd name="connsiteX7" fmla="*/ 2171 w 375677"/>
                <a:gd name="connsiteY7" fmla="*/ 155143 h 373384"/>
                <a:gd name="connsiteX8" fmla="*/ 0 w 375677"/>
                <a:gd name="connsiteY8" fmla="*/ 171653 h 373384"/>
                <a:gd name="connsiteX9" fmla="*/ 45210 w 375677"/>
                <a:gd name="connsiteY9" fmla="*/ 172958 h 373384"/>
                <a:gd name="connsiteX10" fmla="*/ 38426 w 375677"/>
                <a:gd name="connsiteY10" fmla="*/ 231699 h 373384"/>
                <a:gd name="connsiteX11" fmla="*/ 2513 w 375677"/>
                <a:gd name="connsiteY11" fmla="*/ 222274 h 373384"/>
                <a:gd name="connsiteX12" fmla="*/ 158628 w 375677"/>
                <a:gd name="connsiteY12" fmla="*/ 373384 h 373384"/>
                <a:gd name="connsiteX13" fmla="*/ 38426 w 375677"/>
                <a:gd name="connsiteY13" fmla="*/ 231699 h 37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77" h="373384">
                  <a:moveTo>
                    <a:pt x="187684" y="231177"/>
                  </a:moveTo>
                  <a:cubicBezTo>
                    <a:pt x="185300" y="281280"/>
                    <a:pt x="200669" y="330620"/>
                    <a:pt x="231092" y="370542"/>
                  </a:cubicBezTo>
                  <a:cubicBezTo>
                    <a:pt x="332213" y="346456"/>
                    <a:pt x="394624" y="245109"/>
                    <a:pt x="370493" y="144178"/>
                  </a:cubicBezTo>
                  <a:cubicBezTo>
                    <a:pt x="361450" y="106358"/>
                    <a:pt x="340875" y="72270"/>
                    <a:pt x="311605" y="46614"/>
                  </a:cubicBezTo>
                  <a:cubicBezTo>
                    <a:pt x="239091" y="80307"/>
                    <a:pt x="191340" y="151425"/>
                    <a:pt x="187684" y="231177"/>
                  </a:cubicBezTo>
                  <a:close/>
                  <a:moveTo>
                    <a:pt x="45210" y="172958"/>
                  </a:moveTo>
                  <a:cubicBezTo>
                    <a:pt x="139146" y="164779"/>
                    <a:pt x="211451" y="91726"/>
                    <a:pt x="220168" y="2895"/>
                  </a:cubicBezTo>
                  <a:cubicBezTo>
                    <a:pt x="117849" y="-15148"/>
                    <a:pt x="20248" y="53016"/>
                    <a:pt x="2171" y="155143"/>
                  </a:cubicBezTo>
                  <a:cubicBezTo>
                    <a:pt x="1203" y="160612"/>
                    <a:pt x="479" y="166120"/>
                    <a:pt x="0" y="171653"/>
                  </a:cubicBezTo>
                  <a:cubicBezTo>
                    <a:pt x="14969" y="173829"/>
                    <a:pt x="30140" y="174267"/>
                    <a:pt x="45210" y="172958"/>
                  </a:cubicBezTo>
                  <a:close/>
                  <a:moveTo>
                    <a:pt x="38426" y="231699"/>
                  </a:moveTo>
                  <a:cubicBezTo>
                    <a:pt x="26753" y="227519"/>
                    <a:pt x="14736" y="224366"/>
                    <a:pt x="2513" y="222274"/>
                  </a:cubicBezTo>
                  <a:cubicBezTo>
                    <a:pt x="17141" y="300613"/>
                    <a:pt x="79730" y="361196"/>
                    <a:pt x="158628" y="373384"/>
                  </a:cubicBezTo>
                  <a:cubicBezTo>
                    <a:pt x="156609" y="315484"/>
                    <a:pt x="109597" y="257162"/>
                    <a:pt x="38426" y="231699"/>
                  </a:cubicBezTo>
                  <a:close/>
                </a:path>
              </a:pathLst>
            </a:custGeom>
            <a:solidFill>
              <a:srgbClr val="010101"/>
            </a:solidFill>
            <a:ln w="145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422E281-917E-B74F-B168-E31E6BB6D96F}"/>
                </a:ext>
              </a:extLst>
            </p:cNvPr>
            <p:cNvSpPr/>
            <p:nvPr/>
          </p:nvSpPr>
          <p:spPr>
            <a:xfrm>
              <a:off x="1494055" y="-622846"/>
              <a:ext cx="54246" cy="312921"/>
            </a:xfrm>
            <a:custGeom>
              <a:avLst/>
              <a:gdLst>
                <a:gd name="connsiteX0" fmla="*/ 0 w 54246"/>
                <a:gd name="connsiteY0" fmla="*/ 0 h 312921"/>
                <a:gd name="connsiteX1" fmla="*/ 54247 w 54246"/>
                <a:gd name="connsiteY1" fmla="*/ 0 h 312921"/>
                <a:gd name="connsiteX2" fmla="*/ 54247 w 54246"/>
                <a:gd name="connsiteY2" fmla="*/ 312922 h 312921"/>
                <a:gd name="connsiteX3" fmla="*/ 0 w 54246"/>
                <a:gd name="connsiteY3" fmla="*/ 312922 h 312921"/>
              </a:gdLst>
              <a:ahLst/>
              <a:cxnLst>
                <a:cxn ang="0">
                  <a:pos x="connsiteX0" y="connsiteY0"/>
                </a:cxn>
                <a:cxn ang="0">
                  <a:pos x="connsiteX1" y="connsiteY1"/>
                </a:cxn>
                <a:cxn ang="0">
                  <a:pos x="connsiteX2" y="connsiteY2"/>
                </a:cxn>
                <a:cxn ang="0">
                  <a:pos x="connsiteX3" y="connsiteY3"/>
                </a:cxn>
              </a:cxnLst>
              <a:rect l="l" t="t" r="r" b="b"/>
              <a:pathLst>
                <a:path w="54246" h="312921">
                  <a:moveTo>
                    <a:pt x="0" y="0"/>
                  </a:moveTo>
                  <a:lnTo>
                    <a:pt x="54247" y="0"/>
                  </a:lnTo>
                  <a:lnTo>
                    <a:pt x="54247" y="312922"/>
                  </a:lnTo>
                  <a:lnTo>
                    <a:pt x="0" y="312922"/>
                  </a:lnTo>
                  <a:close/>
                </a:path>
              </a:pathLst>
            </a:custGeom>
            <a:solidFill>
              <a:srgbClr val="010101"/>
            </a:solidFill>
            <a:ln w="145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281E3174-F74F-F84F-90B1-8909ECE00B83}"/>
                </a:ext>
              </a:extLst>
            </p:cNvPr>
            <p:cNvSpPr/>
            <p:nvPr/>
          </p:nvSpPr>
          <p:spPr>
            <a:xfrm>
              <a:off x="1593657" y="-537104"/>
              <a:ext cx="202995" cy="227179"/>
            </a:xfrm>
            <a:custGeom>
              <a:avLst/>
              <a:gdLst>
                <a:gd name="connsiteX0" fmla="*/ 118401 w 202995"/>
                <a:gd name="connsiteY0" fmla="*/ 0 h 227179"/>
                <a:gd name="connsiteX1" fmla="*/ 48871 w 202995"/>
                <a:gd name="connsiteY1" fmla="*/ 37310 h 227179"/>
                <a:gd name="connsiteX2" fmla="*/ 48871 w 202995"/>
                <a:gd name="connsiteY2" fmla="*/ 4756 h 227179"/>
                <a:gd name="connsiteX3" fmla="*/ 0 w 202995"/>
                <a:gd name="connsiteY3" fmla="*/ 4756 h 227179"/>
                <a:gd name="connsiteX4" fmla="*/ 0 w 202995"/>
                <a:gd name="connsiteY4" fmla="*/ 227180 h 227179"/>
                <a:gd name="connsiteX5" fmla="*/ 52300 w 202995"/>
                <a:gd name="connsiteY5" fmla="*/ 227180 h 227179"/>
                <a:gd name="connsiteX6" fmla="*/ 52300 w 202995"/>
                <a:gd name="connsiteY6" fmla="*/ 109363 h 227179"/>
                <a:gd name="connsiteX7" fmla="*/ 54755 w 202995"/>
                <a:gd name="connsiteY7" fmla="*/ 84872 h 227179"/>
                <a:gd name="connsiteX8" fmla="*/ 103103 w 202995"/>
                <a:gd name="connsiteY8" fmla="*/ 46953 h 227179"/>
                <a:gd name="connsiteX9" fmla="*/ 148982 w 202995"/>
                <a:gd name="connsiteY9" fmla="*/ 85974 h 227179"/>
                <a:gd name="connsiteX10" fmla="*/ 150696 w 202995"/>
                <a:gd name="connsiteY10" fmla="*/ 109320 h 227179"/>
                <a:gd name="connsiteX11" fmla="*/ 150696 w 202995"/>
                <a:gd name="connsiteY11" fmla="*/ 227180 h 227179"/>
                <a:gd name="connsiteX12" fmla="*/ 202996 w 202995"/>
                <a:gd name="connsiteY12" fmla="*/ 227180 h 227179"/>
                <a:gd name="connsiteX13" fmla="*/ 202996 w 202995"/>
                <a:gd name="connsiteY13" fmla="*/ 95559 h 227179"/>
                <a:gd name="connsiteX14" fmla="*/ 198056 w 202995"/>
                <a:gd name="connsiteY14" fmla="*/ 56045 h 227179"/>
                <a:gd name="connsiteX15" fmla="*/ 118401 w 202995"/>
                <a:gd name="connsiteY15" fmla="*/ 0 h 227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2995" h="227179">
                  <a:moveTo>
                    <a:pt x="118401" y="0"/>
                  </a:moveTo>
                  <a:cubicBezTo>
                    <a:pt x="91394" y="0"/>
                    <a:pt x="65549" y="10150"/>
                    <a:pt x="48871" y="37310"/>
                  </a:cubicBezTo>
                  <a:lnTo>
                    <a:pt x="48871" y="4756"/>
                  </a:lnTo>
                  <a:lnTo>
                    <a:pt x="0" y="4756"/>
                  </a:lnTo>
                  <a:lnTo>
                    <a:pt x="0" y="227180"/>
                  </a:lnTo>
                  <a:lnTo>
                    <a:pt x="52300" y="227180"/>
                  </a:lnTo>
                  <a:lnTo>
                    <a:pt x="52300" y="109363"/>
                  </a:lnTo>
                  <a:cubicBezTo>
                    <a:pt x="52167" y="101132"/>
                    <a:pt x="52991" y="92913"/>
                    <a:pt x="54755" y="84872"/>
                  </a:cubicBezTo>
                  <a:cubicBezTo>
                    <a:pt x="60769" y="60888"/>
                    <a:pt x="77898" y="46953"/>
                    <a:pt x="103103" y="46953"/>
                  </a:cubicBezTo>
                  <a:cubicBezTo>
                    <a:pt x="129151" y="46953"/>
                    <a:pt x="144159" y="60003"/>
                    <a:pt x="148982" y="85974"/>
                  </a:cubicBezTo>
                  <a:cubicBezTo>
                    <a:pt x="150207" y="93694"/>
                    <a:pt x="150780" y="101503"/>
                    <a:pt x="150696" y="109320"/>
                  </a:cubicBezTo>
                  <a:lnTo>
                    <a:pt x="150696" y="227180"/>
                  </a:lnTo>
                  <a:lnTo>
                    <a:pt x="202996" y="227180"/>
                  </a:lnTo>
                  <a:lnTo>
                    <a:pt x="202996" y="95559"/>
                  </a:lnTo>
                  <a:cubicBezTo>
                    <a:pt x="202996" y="80783"/>
                    <a:pt x="201543" y="67442"/>
                    <a:pt x="198056" y="56045"/>
                  </a:cubicBezTo>
                  <a:cubicBezTo>
                    <a:pt x="186681" y="18242"/>
                    <a:pt x="156347" y="0"/>
                    <a:pt x="118401" y="0"/>
                  </a:cubicBezTo>
                  <a:close/>
                </a:path>
              </a:pathLst>
            </a:custGeom>
            <a:solidFill>
              <a:srgbClr val="010101"/>
            </a:solidFill>
            <a:ln w="145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5D6E0B5A-B49C-C949-8AB3-DDDC66549294}"/>
                </a:ext>
              </a:extLst>
            </p:cNvPr>
            <p:cNvSpPr/>
            <p:nvPr/>
          </p:nvSpPr>
          <p:spPr>
            <a:xfrm>
              <a:off x="1836081" y="-622846"/>
              <a:ext cx="224162" cy="312921"/>
            </a:xfrm>
            <a:custGeom>
              <a:avLst/>
              <a:gdLst>
                <a:gd name="connsiteX0" fmla="*/ 175669 w 224162"/>
                <a:gd name="connsiteY0" fmla="*/ 145672 h 312921"/>
                <a:gd name="connsiteX1" fmla="*/ 205800 w 224162"/>
                <a:gd name="connsiteY1" fmla="*/ 84132 h 312921"/>
                <a:gd name="connsiteX2" fmla="*/ 143331 w 224162"/>
                <a:gd name="connsiteY2" fmla="*/ 4176 h 312921"/>
                <a:gd name="connsiteX3" fmla="*/ 99108 w 224162"/>
                <a:gd name="connsiteY3" fmla="*/ 0 h 312921"/>
                <a:gd name="connsiteX4" fmla="*/ 0 w 224162"/>
                <a:gd name="connsiteY4" fmla="*/ 0 h 312921"/>
                <a:gd name="connsiteX5" fmla="*/ 0 w 224162"/>
                <a:gd name="connsiteY5" fmla="*/ 312922 h 312921"/>
                <a:gd name="connsiteX6" fmla="*/ 110992 w 224162"/>
                <a:gd name="connsiteY6" fmla="*/ 312922 h 312921"/>
                <a:gd name="connsiteX7" fmla="*/ 161330 w 224162"/>
                <a:gd name="connsiteY7" fmla="*/ 305860 h 312921"/>
                <a:gd name="connsiteX8" fmla="*/ 224163 w 224162"/>
                <a:gd name="connsiteY8" fmla="*/ 221641 h 312921"/>
                <a:gd name="connsiteX9" fmla="*/ 175669 w 224162"/>
                <a:gd name="connsiteY9" fmla="*/ 145672 h 312921"/>
                <a:gd name="connsiteX10" fmla="*/ 53636 w 224162"/>
                <a:gd name="connsiteY10" fmla="*/ 49113 h 312921"/>
                <a:gd name="connsiteX11" fmla="*/ 101810 w 224162"/>
                <a:gd name="connsiteY11" fmla="*/ 49113 h 312921"/>
                <a:gd name="connsiteX12" fmla="*/ 131970 w 224162"/>
                <a:gd name="connsiteY12" fmla="*/ 54073 h 312921"/>
                <a:gd name="connsiteX13" fmla="*/ 152091 w 224162"/>
                <a:gd name="connsiteY13" fmla="*/ 88207 h 312921"/>
                <a:gd name="connsiteX14" fmla="*/ 131258 w 224162"/>
                <a:gd name="connsiteY14" fmla="*/ 122762 h 312921"/>
                <a:gd name="connsiteX15" fmla="*/ 103655 w 224162"/>
                <a:gd name="connsiteY15" fmla="*/ 127329 h 312921"/>
                <a:gd name="connsiteX16" fmla="*/ 53665 w 224162"/>
                <a:gd name="connsiteY16" fmla="*/ 127329 h 312921"/>
                <a:gd name="connsiteX17" fmla="*/ 134992 w 224162"/>
                <a:gd name="connsiteY17" fmla="*/ 261967 h 312921"/>
                <a:gd name="connsiteX18" fmla="*/ 113752 w 224162"/>
                <a:gd name="connsiteY18" fmla="*/ 263808 h 312921"/>
                <a:gd name="connsiteX19" fmla="*/ 53665 w 224162"/>
                <a:gd name="connsiteY19" fmla="*/ 263808 h 312921"/>
                <a:gd name="connsiteX20" fmla="*/ 53665 w 224162"/>
                <a:gd name="connsiteY20" fmla="*/ 175573 h 312921"/>
                <a:gd name="connsiteX21" fmla="*/ 118270 w 224162"/>
                <a:gd name="connsiteY21" fmla="*/ 175573 h 312921"/>
                <a:gd name="connsiteX22" fmla="*/ 135369 w 224162"/>
                <a:gd name="connsiteY22" fmla="*/ 177197 h 312921"/>
                <a:gd name="connsiteX23" fmla="*/ 170497 w 224162"/>
                <a:gd name="connsiteY23" fmla="*/ 219625 h 312921"/>
                <a:gd name="connsiteX24" fmla="*/ 134963 w 224162"/>
                <a:gd name="connsiteY24" fmla="*/ 261967 h 312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4162" h="312921">
                  <a:moveTo>
                    <a:pt x="175669" y="145672"/>
                  </a:moveTo>
                  <a:cubicBezTo>
                    <a:pt x="196880" y="129417"/>
                    <a:pt x="205800" y="110770"/>
                    <a:pt x="205800" y="84132"/>
                  </a:cubicBezTo>
                  <a:cubicBezTo>
                    <a:pt x="205800" y="44256"/>
                    <a:pt x="181103" y="14370"/>
                    <a:pt x="143331" y="4176"/>
                  </a:cubicBezTo>
                  <a:cubicBezTo>
                    <a:pt x="133539" y="1552"/>
                    <a:pt x="117631" y="0"/>
                    <a:pt x="99108" y="0"/>
                  </a:cubicBezTo>
                  <a:lnTo>
                    <a:pt x="0" y="0"/>
                  </a:lnTo>
                  <a:lnTo>
                    <a:pt x="0" y="312922"/>
                  </a:lnTo>
                  <a:lnTo>
                    <a:pt x="110992" y="312922"/>
                  </a:lnTo>
                  <a:cubicBezTo>
                    <a:pt x="132624" y="312922"/>
                    <a:pt x="147122" y="310863"/>
                    <a:pt x="161330" y="305860"/>
                  </a:cubicBezTo>
                  <a:cubicBezTo>
                    <a:pt x="198521" y="292809"/>
                    <a:pt x="224163" y="263939"/>
                    <a:pt x="224163" y="221641"/>
                  </a:cubicBezTo>
                  <a:cubicBezTo>
                    <a:pt x="224163" y="186332"/>
                    <a:pt x="207354" y="161232"/>
                    <a:pt x="175669" y="145672"/>
                  </a:cubicBezTo>
                  <a:close/>
                  <a:moveTo>
                    <a:pt x="53636" y="49113"/>
                  </a:moveTo>
                  <a:lnTo>
                    <a:pt x="101810" y="49113"/>
                  </a:lnTo>
                  <a:cubicBezTo>
                    <a:pt x="112793" y="49113"/>
                    <a:pt x="124473" y="50563"/>
                    <a:pt x="131970" y="54073"/>
                  </a:cubicBezTo>
                  <a:cubicBezTo>
                    <a:pt x="145045" y="60090"/>
                    <a:pt x="152091" y="71328"/>
                    <a:pt x="152091" y="88207"/>
                  </a:cubicBezTo>
                  <a:cubicBezTo>
                    <a:pt x="152091" y="105085"/>
                    <a:pt x="144580" y="116773"/>
                    <a:pt x="131258" y="122762"/>
                  </a:cubicBezTo>
                  <a:cubicBezTo>
                    <a:pt x="124590" y="125749"/>
                    <a:pt x="114856" y="127329"/>
                    <a:pt x="103655" y="127329"/>
                  </a:cubicBezTo>
                  <a:lnTo>
                    <a:pt x="53665" y="127329"/>
                  </a:lnTo>
                  <a:close/>
                  <a:moveTo>
                    <a:pt x="134992" y="261967"/>
                  </a:moveTo>
                  <a:cubicBezTo>
                    <a:pt x="127987" y="263261"/>
                    <a:pt x="120875" y="263877"/>
                    <a:pt x="113752" y="263808"/>
                  </a:cubicBezTo>
                  <a:lnTo>
                    <a:pt x="53665" y="263808"/>
                  </a:lnTo>
                  <a:lnTo>
                    <a:pt x="53665" y="175573"/>
                  </a:lnTo>
                  <a:lnTo>
                    <a:pt x="118270" y="175573"/>
                  </a:lnTo>
                  <a:cubicBezTo>
                    <a:pt x="124010" y="175541"/>
                    <a:pt x="129738" y="176085"/>
                    <a:pt x="135369" y="177197"/>
                  </a:cubicBezTo>
                  <a:cubicBezTo>
                    <a:pt x="160764" y="182823"/>
                    <a:pt x="170497" y="202819"/>
                    <a:pt x="170497" y="219625"/>
                  </a:cubicBezTo>
                  <a:cubicBezTo>
                    <a:pt x="170497" y="241855"/>
                    <a:pt x="156188" y="256935"/>
                    <a:pt x="134963" y="261967"/>
                  </a:cubicBezTo>
                  <a:close/>
                </a:path>
              </a:pathLst>
            </a:custGeom>
            <a:solidFill>
              <a:srgbClr val="010101"/>
            </a:solidFill>
            <a:ln w="145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5935C402-87FC-9C4D-81CE-9E56ECE7FCDF}"/>
                </a:ext>
              </a:extLst>
            </p:cNvPr>
            <p:cNvSpPr/>
            <p:nvPr/>
          </p:nvSpPr>
          <p:spPr>
            <a:xfrm>
              <a:off x="2302362" y="-532348"/>
              <a:ext cx="225048" cy="222423"/>
            </a:xfrm>
            <a:custGeom>
              <a:avLst/>
              <a:gdLst>
                <a:gd name="connsiteX0" fmla="*/ 169001 w 225048"/>
                <a:gd name="connsiteY0" fmla="*/ 0 h 222423"/>
                <a:gd name="connsiteX1" fmla="*/ 113215 w 225048"/>
                <a:gd name="connsiteY1" fmla="*/ 158897 h 222423"/>
                <a:gd name="connsiteX2" fmla="*/ 56600 w 225048"/>
                <a:gd name="connsiteY2" fmla="*/ 0 h 222423"/>
                <a:gd name="connsiteX3" fmla="*/ 0 w 225048"/>
                <a:gd name="connsiteY3" fmla="*/ 0 h 222423"/>
                <a:gd name="connsiteX4" fmla="*/ 88503 w 225048"/>
                <a:gd name="connsiteY4" fmla="*/ 222424 h 222423"/>
                <a:gd name="connsiteX5" fmla="*/ 136720 w 225048"/>
                <a:gd name="connsiteY5" fmla="*/ 222424 h 222423"/>
                <a:gd name="connsiteX6" fmla="*/ 225049 w 225048"/>
                <a:gd name="connsiteY6" fmla="*/ 0 h 222423"/>
                <a:gd name="connsiteX7" fmla="*/ 169001 w 225048"/>
                <a:gd name="connsiteY7" fmla="*/ 0 h 22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5048" h="222423">
                  <a:moveTo>
                    <a:pt x="169001" y="0"/>
                  </a:moveTo>
                  <a:lnTo>
                    <a:pt x="113215" y="158897"/>
                  </a:lnTo>
                  <a:lnTo>
                    <a:pt x="56600" y="0"/>
                  </a:lnTo>
                  <a:lnTo>
                    <a:pt x="0" y="0"/>
                  </a:lnTo>
                  <a:lnTo>
                    <a:pt x="88503" y="222424"/>
                  </a:lnTo>
                  <a:lnTo>
                    <a:pt x="136720" y="222424"/>
                  </a:lnTo>
                  <a:lnTo>
                    <a:pt x="225049" y="0"/>
                  </a:lnTo>
                  <a:lnTo>
                    <a:pt x="169001" y="0"/>
                  </a:lnTo>
                  <a:close/>
                </a:path>
              </a:pathLst>
            </a:custGeom>
            <a:solidFill>
              <a:srgbClr val="010101"/>
            </a:solidFill>
            <a:ln w="145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A1CC364-F4C8-7844-B75E-97248698E11B}"/>
                </a:ext>
              </a:extLst>
            </p:cNvPr>
            <p:cNvSpPr/>
            <p:nvPr/>
          </p:nvSpPr>
          <p:spPr>
            <a:xfrm>
              <a:off x="2079594" y="-537104"/>
              <a:ext cx="227215" cy="231936"/>
            </a:xfrm>
            <a:custGeom>
              <a:avLst/>
              <a:gdLst>
                <a:gd name="connsiteX0" fmla="*/ 112721 w 227215"/>
                <a:gd name="connsiteY0" fmla="*/ 0 h 231936"/>
                <a:gd name="connsiteX1" fmla="*/ 0 w 227215"/>
                <a:gd name="connsiteY1" fmla="*/ 117527 h 231936"/>
                <a:gd name="connsiteX2" fmla="*/ 114943 w 227215"/>
                <a:gd name="connsiteY2" fmla="*/ 231936 h 231936"/>
                <a:gd name="connsiteX3" fmla="*/ 220211 w 227215"/>
                <a:gd name="connsiteY3" fmla="*/ 158940 h 231936"/>
                <a:gd name="connsiteX4" fmla="*/ 167083 w 227215"/>
                <a:gd name="connsiteY4" fmla="*/ 158940 h 231936"/>
                <a:gd name="connsiteX5" fmla="*/ 115829 w 227215"/>
                <a:gd name="connsiteY5" fmla="*/ 186491 h 231936"/>
                <a:gd name="connsiteX6" fmla="*/ 51690 w 227215"/>
                <a:gd name="connsiteY6" fmla="*/ 134899 h 231936"/>
                <a:gd name="connsiteX7" fmla="*/ 225601 w 227215"/>
                <a:gd name="connsiteY7" fmla="*/ 134899 h 231936"/>
                <a:gd name="connsiteX8" fmla="*/ 227184 w 227215"/>
                <a:gd name="connsiteY8" fmla="*/ 113771 h 231936"/>
                <a:gd name="connsiteX9" fmla="*/ 112721 w 227215"/>
                <a:gd name="connsiteY9" fmla="*/ 0 h 231936"/>
                <a:gd name="connsiteX10" fmla="*/ 51850 w 227215"/>
                <a:gd name="connsiteY10" fmla="*/ 98473 h 231936"/>
                <a:gd name="connsiteX11" fmla="*/ 113200 w 227215"/>
                <a:gd name="connsiteY11" fmla="*/ 45416 h 231936"/>
                <a:gd name="connsiteX12" fmla="*/ 175349 w 227215"/>
                <a:gd name="connsiteY12" fmla="*/ 98473 h 231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7215" h="231936">
                  <a:moveTo>
                    <a:pt x="112721" y="0"/>
                  </a:moveTo>
                  <a:cubicBezTo>
                    <a:pt x="49293" y="0"/>
                    <a:pt x="0" y="50940"/>
                    <a:pt x="0" y="117527"/>
                  </a:cubicBezTo>
                  <a:cubicBezTo>
                    <a:pt x="0" y="178980"/>
                    <a:pt x="48537" y="231936"/>
                    <a:pt x="114943" y="231936"/>
                  </a:cubicBezTo>
                  <a:cubicBezTo>
                    <a:pt x="163451" y="231936"/>
                    <a:pt x="201020" y="204081"/>
                    <a:pt x="220211" y="158940"/>
                  </a:cubicBezTo>
                  <a:lnTo>
                    <a:pt x="167083" y="158940"/>
                  </a:lnTo>
                  <a:cubicBezTo>
                    <a:pt x="155112" y="176820"/>
                    <a:pt x="139074" y="186491"/>
                    <a:pt x="115829" y="186491"/>
                  </a:cubicBezTo>
                  <a:cubicBezTo>
                    <a:pt x="81210" y="186491"/>
                    <a:pt x="58561" y="166191"/>
                    <a:pt x="51690" y="134899"/>
                  </a:cubicBezTo>
                  <a:lnTo>
                    <a:pt x="225601" y="134899"/>
                  </a:lnTo>
                  <a:cubicBezTo>
                    <a:pt x="226825" y="127925"/>
                    <a:pt x="227355" y="120849"/>
                    <a:pt x="227184" y="113771"/>
                  </a:cubicBezTo>
                  <a:cubicBezTo>
                    <a:pt x="226647" y="54000"/>
                    <a:pt x="180696" y="0"/>
                    <a:pt x="112721" y="0"/>
                  </a:cubicBezTo>
                  <a:close/>
                  <a:moveTo>
                    <a:pt x="51850" y="98473"/>
                  </a:moveTo>
                  <a:cubicBezTo>
                    <a:pt x="55598" y="66456"/>
                    <a:pt x="81602" y="45416"/>
                    <a:pt x="113200" y="45416"/>
                  </a:cubicBezTo>
                  <a:cubicBezTo>
                    <a:pt x="146396" y="45416"/>
                    <a:pt x="171630" y="67355"/>
                    <a:pt x="175349" y="98473"/>
                  </a:cubicBezTo>
                  <a:close/>
                </a:path>
              </a:pathLst>
            </a:custGeom>
            <a:solidFill>
              <a:srgbClr val="010101"/>
            </a:solidFill>
            <a:ln w="1452"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6AFBA741-2ACB-D343-81BA-4782D6F3E540}"/>
                </a:ext>
              </a:extLst>
            </p:cNvPr>
            <p:cNvSpPr/>
            <p:nvPr/>
          </p:nvSpPr>
          <p:spPr>
            <a:xfrm>
              <a:off x="918597" y="-622860"/>
              <a:ext cx="543801" cy="312936"/>
            </a:xfrm>
            <a:custGeom>
              <a:avLst/>
              <a:gdLst>
                <a:gd name="connsiteX0" fmla="*/ 494756 w 543801"/>
                <a:gd name="connsiteY0" fmla="*/ 146122 h 312936"/>
                <a:gd name="connsiteX1" fmla="*/ 525351 w 543801"/>
                <a:gd name="connsiteY1" fmla="*/ 84147 h 312936"/>
                <a:gd name="connsiteX2" fmla="*/ 462882 w 543801"/>
                <a:gd name="connsiteY2" fmla="*/ 4191 h 312936"/>
                <a:gd name="connsiteX3" fmla="*/ 418660 w 543801"/>
                <a:gd name="connsiteY3" fmla="*/ 15 h 312936"/>
                <a:gd name="connsiteX4" fmla="*/ 319552 w 543801"/>
                <a:gd name="connsiteY4" fmla="*/ 15 h 312936"/>
                <a:gd name="connsiteX5" fmla="*/ 319552 w 543801"/>
                <a:gd name="connsiteY5" fmla="*/ 132056 h 312936"/>
                <a:gd name="connsiteX6" fmla="*/ 239649 w 543801"/>
                <a:gd name="connsiteY6" fmla="*/ 151299 h 312936"/>
                <a:gd name="connsiteX7" fmla="*/ 177732 w 543801"/>
                <a:gd name="connsiteY7" fmla="*/ 0 h 312936"/>
                <a:gd name="connsiteX8" fmla="*/ 127946 w 543801"/>
                <a:gd name="connsiteY8" fmla="*/ 0 h 312936"/>
                <a:gd name="connsiteX9" fmla="*/ 0 w 543801"/>
                <a:gd name="connsiteY9" fmla="*/ 312936 h 312936"/>
                <a:gd name="connsiteX10" fmla="*/ 52198 w 543801"/>
                <a:gd name="connsiteY10" fmla="*/ 312936 h 312936"/>
                <a:gd name="connsiteX11" fmla="*/ 207252 w 543801"/>
                <a:gd name="connsiteY11" fmla="*/ 208532 h 312936"/>
                <a:gd name="connsiteX12" fmla="*/ 246477 w 543801"/>
                <a:gd name="connsiteY12" fmla="*/ 312936 h 312936"/>
                <a:gd name="connsiteX13" fmla="*/ 305678 w 543801"/>
                <a:gd name="connsiteY13" fmla="*/ 312936 h 312936"/>
                <a:gd name="connsiteX14" fmla="*/ 256124 w 543801"/>
                <a:gd name="connsiteY14" fmla="*/ 191697 h 312936"/>
                <a:gd name="connsiteX15" fmla="*/ 319552 w 543801"/>
                <a:gd name="connsiteY15" fmla="*/ 178139 h 312936"/>
                <a:gd name="connsiteX16" fmla="*/ 319552 w 543801"/>
                <a:gd name="connsiteY16" fmla="*/ 312893 h 312936"/>
                <a:gd name="connsiteX17" fmla="*/ 346486 w 543801"/>
                <a:gd name="connsiteY17" fmla="*/ 312893 h 312936"/>
                <a:gd name="connsiteX18" fmla="*/ 346486 w 543801"/>
                <a:gd name="connsiteY18" fmla="*/ 312893 h 312936"/>
                <a:gd name="connsiteX19" fmla="*/ 441091 w 543801"/>
                <a:gd name="connsiteY19" fmla="*/ 312893 h 312936"/>
                <a:gd name="connsiteX20" fmla="*/ 543802 w 543801"/>
                <a:gd name="connsiteY20" fmla="*/ 221539 h 312936"/>
                <a:gd name="connsiteX21" fmla="*/ 494756 w 543801"/>
                <a:gd name="connsiteY21" fmla="*/ 146122 h 312936"/>
                <a:gd name="connsiteX22" fmla="*/ 82546 w 543801"/>
                <a:gd name="connsiteY22" fmla="*/ 241826 h 312936"/>
                <a:gd name="connsiteX23" fmla="*/ 152280 w 543801"/>
                <a:gd name="connsiteY23" fmla="*/ 61874 h 312936"/>
                <a:gd name="connsiteX24" fmla="*/ 192797 w 543801"/>
                <a:gd name="connsiteY24" fmla="*/ 169772 h 312936"/>
                <a:gd name="connsiteX25" fmla="*/ 82546 w 543801"/>
                <a:gd name="connsiteY25" fmla="*/ 241855 h 312936"/>
                <a:gd name="connsiteX26" fmla="*/ 373232 w 543801"/>
                <a:gd name="connsiteY26" fmla="*/ 49128 h 312936"/>
                <a:gd name="connsiteX27" fmla="*/ 419270 w 543801"/>
                <a:gd name="connsiteY27" fmla="*/ 49128 h 312936"/>
                <a:gd name="connsiteX28" fmla="*/ 444650 w 543801"/>
                <a:gd name="connsiteY28" fmla="*/ 52289 h 312936"/>
                <a:gd name="connsiteX29" fmla="*/ 471686 w 543801"/>
                <a:gd name="connsiteY29" fmla="*/ 92339 h 312936"/>
                <a:gd name="connsiteX30" fmla="*/ 446059 w 543801"/>
                <a:gd name="connsiteY30" fmla="*/ 130809 h 312936"/>
                <a:gd name="connsiteX31" fmla="*/ 395720 w 543801"/>
                <a:gd name="connsiteY31" fmla="*/ 126865 h 312936"/>
                <a:gd name="connsiteX32" fmla="*/ 373232 w 543801"/>
                <a:gd name="connsiteY32" fmla="*/ 127213 h 312936"/>
                <a:gd name="connsiteX33" fmla="*/ 437793 w 543801"/>
                <a:gd name="connsiteY33" fmla="*/ 263736 h 312936"/>
                <a:gd name="connsiteX34" fmla="*/ 373232 w 543801"/>
                <a:gd name="connsiteY34" fmla="*/ 263736 h 312936"/>
                <a:gd name="connsiteX35" fmla="*/ 373232 w 543801"/>
                <a:gd name="connsiteY35" fmla="*/ 173833 h 312936"/>
                <a:gd name="connsiteX36" fmla="*/ 397202 w 543801"/>
                <a:gd name="connsiteY36" fmla="*/ 173398 h 312936"/>
                <a:gd name="connsiteX37" fmla="*/ 490078 w 543801"/>
                <a:gd name="connsiteY37" fmla="*/ 221568 h 312936"/>
                <a:gd name="connsiteX38" fmla="*/ 437793 w 543801"/>
                <a:gd name="connsiteY38" fmla="*/ 263779 h 3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43801" h="312936">
                  <a:moveTo>
                    <a:pt x="494756" y="146122"/>
                  </a:moveTo>
                  <a:cubicBezTo>
                    <a:pt x="517361" y="129620"/>
                    <a:pt x="525351" y="104955"/>
                    <a:pt x="525351" y="84147"/>
                  </a:cubicBezTo>
                  <a:cubicBezTo>
                    <a:pt x="525351" y="44270"/>
                    <a:pt x="500654" y="14385"/>
                    <a:pt x="462882" y="4191"/>
                  </a:cubicBezTo>
                  <a:cubicBezTo>
                    <a:pt x="453090" y="1566"/>
                    <a:pt x="437183" y="15"/>
                    <a:pt x="418660" y="15"/>
                  </a:cubicBezTo>
                  <a:lnTo>
                    <a:pt x="319552" y="15"/>
                  </a:lnTo>
                  <a:lnTo>
                    <a:pt x="319552" y="132056"/>
                  </a:lnTo>
                  <a:cubicBezTo>
                    <a:pt x="292413" y="136165"/>
                    <a:pt x="265679" y="142603"/>
                    <a:pt x="239649" y="151299"/>
                  </a:cubicBezTo>
                  <a:lnTo>
                    <a:pt x="177732" y="0"/>
                  </a:lnTo>
                  <a:lnTo>
                    <a:pt x="127946" y="0"/>
                  </a:lnTo>
                  <a:lnTo>
                    <a:pt x="0" y="312936"/>
                  </a:lnTo>
                  <a:lnTo>
                    <a:pt x="52198" y="312936"/>
                  </a:lnTo>
                  <a:cubicBezTo>
                    <a:pt x="97321" y="265331"/>
                    <a:pt x="151175" y="231168"/>
                    <a:pt x="207252" y="208532"/>
                  </a:cubicBezTo>
                  <a:lnTo>
                    <a:pt x="246477" y="312936"/>
                  </a:lnTo>
                  <a:lnTo>
                    <a:pt x="305678" y="312936"/>
                  </a:lnTo>
                  <a:lnTo>
                    <a:pt x="256124" y="191697"/>
                  </a:lnTo>
                  <a:cubicBezTo>
                    <a:pt x="276944" y="185787"/>
                    <a:pt x="298133" y="181258"/>
                    <a:pt x="319552" y="178139"/>
                  </a:cubicBezTo>
                  <a:lnTo>
                    <a:pt x="319552" y="312893"/>
                  </a:lnTo>
                  <a:lnTo>
                    <a:pt x="346486" y="312893"/>
                  </a:lnTo>
                  <a:lnTo>
                    <a:pt x="346486" y="312893"/>
                  </a:lnTo>
                  <a:lnTo>
                    <a:pt x="441091" y="312893"/>
                  </a:lnTo>
                  <a:cubicBezTo>
                    <a:pt x="507918" y="312893"/>
                    <a:pt x="543802" y="273741"/>
                    <a:pt x="543802" y="221539"/>
                  </a:cubicBezTo>
                  <a:cubicBezTo>
                    <a:pt x="543802" y="190015"/>
                    <a:pt x="528097" y="163117"/>
                    <a:pt x="494756" y="146122"/>
                  </a:cubicBezTo>
                  <a:close/>
                  <a:moveTo>
                    <a:pt x="82546" y="241826"/>
                  </a:moveTo>
                  <a:lnTo>
                    <a:pt x="152280" y="61874"/>
                  </a:lnTo>
                  <a:lnTo>
                    <a:pt x="192797" y="169772"/>
                  </a:lnTo>
                  <a:cubicBezTo>
                    <a:pt x="150798" y="188986"/>
                    <a:pt x="113432" y="213608"/>
                    <a:pt x="82546" y="241855"/>
                  </a:cubicBezTo>
                  <a:close/>
                  <a:moveTo>
                    <a:pt x="373232" y="49128"/>
                  </a:moveTo>
                  <a:lnTo>
                    <a:pt x="419270" y="49128"/>
                  </a:lnTo>
                  <a:cubicBezTo>
                    <a:pt x="429788" y="49128"/>
                    <a:pt x="438606" y="50317"/>
                    <a:pt x="444650" y="52289"/>
                  </a:cubicBezTo>
                  <a:cubicBezTo>
                    <a:pt x="462083" y="57988"/>
                    <a:pt x="471686" y="71140"/>
                    <a:pt x="471686" y="92339"/>
                  </a:cubicBezTo>
                  <a:cubicBezTo>
                    <a:pt x="471686" y="111973"/>
                    <a:pt x="461778" y="124879"/>
                    <a:pt x="446059" y="130809"/>
                  </a:cubicBezTo>
                  <a:cubicBezTo>
                    <a:pt x="429419" y="128095"/>
                    <a:pt x="412581" y="126776"/>
                    <a:pt x="395720" y="126865"/>
                  </a:cubicBezTo>
                  <a:cubicBezTo>
                    <a:pt x="388718" y="126865"/>
                    <a:pt x="381018" y="126967"/>
                    <a:pt x="373232" y="127213"/>
                  </a:cubicBezTo>
                  <a:close/>
                  <a:moveTo>
                    <a:pt x="437793" y="263736"/>
                  </a:moveTo>
                  <a:lnTo>
                    <a:pt x="373232" y="263736"/>
                  </a:lnTo>
                  <a:lnTo>
                    <a:pt x="373232" y="173833"/>
                  </a:lnTo>
                  <a:cubicBezTo>
                    <a:pt x="381411" y="173485"/>
                    <a:pt x="389445" y="173311"/>
                    <a:pt x="397202" y="173398"/>
                  </a:cubicBezTo>
                  <a:cubicBezTo>
                    <a:pt x="455923" y="174152"/>
                    <a:pt x="490078" y="191219"/>
                    <a:pt x="490078" y="221568"/>
                  </a:cubicBezTo>
                  <a:cubicBezTo>
                    <a:pt x="490078" y="248887"/>
                    <a:pt x="465613" y="263779"/>
                    <a:pt x="437793" y="263779"/>
                  </a:cubicBezTo>
                  <a:close/>
                </a:path>
              </a:pathLst>
            </a:custGeom>
            <a:solidFill>
              <a:srgbClr val="010101"/>
            </a:solidFill>
            <a:ln w="1452" cap="flat">
              <a:noFill/>
              <a:prstDash val="solid"/>
              <a:miter/>
            </a:ln>
          </p:spPr>
          <p:txBody>
            <a:bodyPr rtlCol="0" anchor="ctr"/>
            <a:lstStyle/>
            <a:p>
              <a:endParaRPr lang="en-US"/>
            </a:p>
          </p:txBody>
        </p:sp>
      </p:grpSp>
      <p:sp>
        <p:nvSpPr>
          <p:cNvPr id="3" name="Text Placeholder 2">
            <a:extLst>
              <a:ext uri="{FF2B5EF4-FFF2-40B4-BE49-F238E27FC236}">
                <a16:creationId xmlns:a16="http://schemas.microsoft.com/office/drawing/2014/main" id="{63E281CD-A54D-3442-B2F6-DCC90535935E}"/>
              </a:ext>
            </a:extLst>
          </p:cNvPr>
          <p:cNvSpPr>
            <a:spLocks noGrp="1"/>
          </p:cNvSpPr>
          <p:nvPr>
            <p:ph type="body" sz="quarter" idx="11" hasCustomPrompt="1"/>
          </p:nvPr>
        </p:nvSpPr>
        <p:spPr>
          <a:xfrm>
            <a:off x="457199" y="5807699"/>
            <a:ext cx="3045759" cy="184944"/>
          </a:xfrm>
        </p:spPr>
        <p:txBody>
          <a:bodyPr rIns="0" anchor="b"/>
          <a:lstStyle>
            <a:lvl1pPr algn="l">
              <a:defRPr lang="en-US" sz="1200" b="1" kern="1200" baseline="0" dirty="0" smtClean="0">
                <a:solidFill>
                  <a:schemeClr val="tx2"/>
                </a:solidFill>
                <a:latin typeface="Arial" panose="020B0604020202020204" pitchFamily="34" charset="0"/>
                <a:ea typeface="+mn-ea"/>
                <a:cs typeface="Arial" panose="020B0604020202020204" pitchFamily="34" charset="0"/>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Subtitle Goes Here</a:t>
            </a:r>
          </a:p>
        </p:txBody>
      </p:sp>
      <p:sp>
        <p:nvSpPr>
          <p:cNvPr id="13" name="Text Placeholder 2">
            <a:extLst>
              <a:ext uri="{FF2B5EF4-FFF2-40B4-BE49-F238E27FC236}">
                <a16:creationId xmlns:a16="http://schemas.microsoft.com/office/drawing/2014/main" id="{F444DE9C-F571-BB4C-9C1C-7332F4140BF6}"/>
              </a:ext>
            </a:extLst>
          </p:cNvPr>
          <p:cNvSpPr>
            <a:spLocks noGrp="1"/>
          </p:cNvSpPr>
          <p:nvPr>
            <p:ph type="body" sz="quarter" idx="12" hasCustomPrompt="1"/>
          </p:nvPr>
        </p:nvSpPr>
        <p:spPr>
          <a:xfrm>
            <a:off x="457200" y="5985930"/>
            <a:ext cx="3045758" cy="184944"/>
          </a:xfrm>
        </p:spPr>
        <p:txBody>
          <a:bodyPr rIns="0" anchor="b"/>
          <a:lstStyle>
            <a:lvl1pPr algn="l">
              <a:defRPr lang="en-US" sz="1200" b="0" kern="1200" baseline="0" dirty="0">
                <a:solidFill>
                  <a:schemeClr val="bg1"/>
                </a:solidFill>
                <a:latin typeface="+mn-lt"/>
                <a:ea typeface="+mn-ea"/>
                <a:cs typeface="+mn-cs"/>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00.00.0000</a:t>
            </a:r>
          </a:p>
        </p:txBody>
      </p:sp>
      <p:sp>
        <p:nvSpPr>
          <p:cNvPr id="4" name="Text Placeholder 3">
            <a:extLst>
              <a:ext uri="{FF2B5EF4-FFF2-40B4-BE49-F238E27FC236}">
                <a16:creationId xmlns:a16="http://schemas.microsoft.com/office/drawing/2014/main" id="{4C1B3CE5-5669-E845-98B1-856DE736BC17}"/>
              </a:ext>
            </a:extLst>
          </p:cNvPr>
          <p:cNvSpPr>
            <a:spLocks noGrp="1"/>
          </p:cNvSpPr>
          <p:nvPr>
            <p:ph type="body" sz="quarter" idx="10" hasCustomPrompt="1"/>
          </p:nvPr>
        </p:nvSpPr>
        <p:spPr>
          <a:xfrm>
            <a:off x="457200" y="2526232"/>
            <a:ext cx="6204930" cy="2097587"/>
          </a:xfrm>
        </p:spPr>
        <p:txBody>
          <a:bodyPr rIns="0" anchor="ctr"/>
          <a:lstStyle>
            <a:lvl1pPr algn="l">
              <a:lnSpc>
                <a:spcPct val="80000"/>
              </a:lnSpc>
              <a:defRPr kumimoji="0" lang="en-US" sz="5600" b="1" i="0" u="none" strike="noStrike" kern="1200" cap="none" spc="0" normalizeH="0" baseline="0" dirty="0">
                <a:ln>
                  <a:noFill/>
                </a:ln>
                <a:solidFill>
                  <a:schemeClr val="bg1"/>
                </a:solidFill>
                <a:effectLst/>
                <a:uLnTx/>
                <a:uFillTx/>
                <a:latin typeface="Arial" panose="020B0604020202020204"/>
                <a:ea typeface="+mj-ea"/>
                <a:cs typeface="Arial" panose="020B0604020202020204" pitchFamily="34" charset="0"/>
              </a:defRPr>
            </a:lvl1pPr>
          </a:lstStyle>
          <a:p>
            <a:pPr lvl="0"/>
            <a:r>
              <a:rPr lang="en-US"/>
              <a:t>Two or Three-Line Presentation Title Goes Here</a:t>
            </a:r>
          </a:p>
        </p:txBody>
      </p:sp>
    </p:spTree>
    <p:extLst>
      <p:ext uri="{BB962C8B-B14F-4D97-AF65-F5344CB8AC3E}">
        <p14:creationId xmlns:p14="http://schemas.microsoft.com/office/powerpoint/2010/main" val="6286991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dy Slide Minimal Bla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333E1D4-31DF-0840-A775-C356CFB95081}"/>
              </a:ext>
            </a:extLst>
          </p:cNvPr>
          <p:cNvSpPr/>
          <p:nvPr userDrawn="1"/>
        </p:nvSpPr>
        <p:spPr>
          <a:xfrm>
            <a:off x="0" y="-3"/>
            <a:ext cx="12192000" cy="68580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09486B-ABA7-A84B-BC25-77FA66F53FF7}"/>
              </a:ext>
            </a:extLst>
          </p:cNvPr>
          <p:cNvSpPr>
            <a:spLocks noGrp="1"/>
          </p:cNvSpPr>
          <p:nvPr>
            <p:ph type="title"/>
          </p:nvPr>
        </p:nvSpPr>
        <p:spPr>
          <a:xfrm>
            <a:off x="315913" y="319087"/>
            <a:ext cx="11418886" cy="801442"/>
          </a:xfrm>
        </p:spPr>
        <p:txBody>
          <a:bodyPr/>
          <a:lstStyle>
            <a:lvl1pPr>
              <a:defRPr>
                <a:solidFill>
                  <a:schemeClr val="accent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7D5CB28E-DD09-A349-823A-EC35B37D1242}"/>
              </a:ext>
            </a:extLst>
          </p:cNvPr>
          <p:cNvSpPr>
            <a:spLocks noGrp="1"/>
          </p:cNvSpPr>
          <p:nvPr>
            <p:ph type="sldNum" sz="quarter" idx="10"/>
          </p:nvPr>
        </p:nvSpPr>
        <p:spPr/>
        <p:txBody>
          <a:bodyPr/>
          <a:lstStyle>
            <a:lvl1pPr>
              <a:defRPr lang="en-US" smtClean="0">
                <a:solidFill>
                  <a:schemeClr val="bg1"/>
                </a:solidFill>
              </a:defRPr>
            </a:lvl1pPr>
          </a:lstStyle>
          <a:p>
            <a:fld id="{99E61589-955B-3549-AD19-CD847E0672FB}" type="slidenum">
              <a:rPr lang="en-US" smtClean="0"/>
              <a:pPr/>
              <a:t>‹#›</a:t>
            </a:fld>
            <a:endParaRPr lang="en-US"/>
          </a:p>
        </p:txBody>
      </p:sp>
      <p:sp>
        <p:nvSpPr>
          <p:cNvPr id="4" name="Text Placeholder 2">
            <a:extLst>
              <a:ext uri="{FF2B5EF4-FFF2-40B4-BE49-F238E27FC236}">
                <a16:creationId xmlns:a16="http://schemas.microsoft.com/office/drawing/2014/main" id="{EA5C258E-E3DF-0142-B6C8-27E98D44CD98}"/>
              </a:ext>
            </a:extLst>
          </p:cNvPr>
          <p:cNvSpPr>
            <a:spLocks noGrp="1"/>
          </p:cNvSpPr>
          <p:nvPr>
            <p:ph idx="1"/>
          </p:nvPr>
        </p:nvSpPr>
        <p:spPr>
          <a:xfrm>
            <a:off x="315913" y="2091021"/>
            <a:ext cx="11418886" cy="3776380"/>
          </a:xfrm>
          <a:prstGeom prst="rect">
            <a:avLst/>
          </a:prstGeom>
        </p:spPr>
        <p:txBody>
          <a:bodyPr vert="horz" lIns="0" tIns="0" rIns="9144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7" name="Group 6">
            <a:extLst>
              <a:ext uri="{FF2B5EF4-FFF2-40B4-BE49-F238E27FC236}">
                <a16:creationId xmlns:a16="http://schemas.microsoft.com/office/drawing/2014/main" id="{538D3B8B-576D-A34D-8263-9CA98E8C5635}"/>
              </a:ext>
            </a:extLst>
          </p:cNvPr>
          <p:cNvGrpSpPr/>
          <p:nvPr userDrawn="1"/>
        </p:nvGrpSpPr>
        <p:grpSpPr>
          <a:xfrm>
            <a:off x="289645" y="6209608"/>
            <a:ext cx="842722" cy="288548"/>
            <a:chOff x="289645" y="6209608"/>
            <a:chExt cx="842722" cy="288548"/>
          </a:xfrm>
        </p:grpSpPr>
        <p:pic>
          <p:nvPicPr>
            <p:cNvPr id="8" name="Graphic 7">
              <a:extLst>
                <a:ext uri="{FF2B5EF4-FFF2-40B4-BE49-F238E27FC236}">
                  <a16:creationId xmlns:a16="http://schemas.microsoft.com/office/drawing/2014/main" id="{7A12A138-0343-3E40-824B-7179CAD99A07}"/>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80372"/>
            <a:stretch/>
          </p:blipFill>
          <p:spPr>
            <a:xfrm>
              <a:off x="289645" y="6209608"/>
              <a:ext cx="307255" cy="288548"/>
            </a:xfrm>
            <a:prstGeom prst="rect">
              <a:avLst/>
            </a:prstGeom>
          </p:spPr>
        </p:pic>
        <p:pic>
          <p:nvPicPr>
            <p:cNvPr id="9" name="Graphic 8">
              <a:extLst>
                <a:ext uri="{FF2B5EF4-FFF2-40B4-BE49-F238E27FC236}">
                  <a16:creationId xmlns:a16="http://schemas.microsoft.com/office/drawing/2014/main" id="{C6CBA753-0E4E-C34D-821B-60F5976996CD}"/>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9776" r="46164"/>
            <a:stretch/>
          </p:blipFill>
          <p:spPr>
            <a:xfrm>
              <a:off x="599207" y="6209608"/>
              <a:ext cx="533160" cy="288548"/>
            </a:xfrm>
            <a:prstGeom prst="rect">
              <a:avLst/>
            </a:prstGeom>
          </p:spPr>
        </p:pic>
      </p:grpSp>
    </p:spTree>
    <p:extLst>
      <p:ext uri="{BB962C8B-B14F-4D97-AF65-F5344CB8AC3E}">
        <p14:creationId xmlns:p14="http://schemas.microsoft.com/office/powerpoint/2010/main" val="42706378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alf Slide Photo White">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EDC68532-9000-034C-A828-635D4A2EFD51}"/>
              </a:ext>
            </a:extLst>
          </p:cNvPr>
          <p:cNvSpPr>
            <a:spLocks noGrp="1"/>
          </p:cNvSpPr>
          <p:nvPr>
            <p:ph type="pic" sz="quarter" idx="12"/>
          </p:nvPr>
        </p:nvSpPr>
        <p:spPr>
          <a:xfrm>
            <a:off x="6096000" y="0"/>
            <a:ext cx="6096000" cy="6858000"/>
          </a:xfrm>
          <a:pattFill prst="pct25">
            <a:fgClr>
              <a:schemeClr val="tx1"/>
            </a:fgClr>
            <a:bgClr>
              <a:schemeClr val="bg1"/>
            </a:bgClr>
          </a:pattFill>
        </p:spPr>
        <p:txBody>
          <a:bodyPr/>
          <a:lstStyle>
            <a:lvl1pPr algn="ctr">
              <a:defRPr sz="1200"/>
            </a:lvl1pPr>
          </a:lstStyle>
          <a:p>
            <a:endParaRPr lang="en-US"/>
          </a:p>
          <a:p>
            <a:endParaRPr lang="en-US"/>
          </a:p>
          <a:p>
            <a:endParaRPr lang="en-US"/>
          </a:p>
          <a:p>
            <a:endParaRPr lang="en-US"/>
          </a:p>
          <a:p>
            <a:endParaRPr lang="en-US"/>
          </a:p>
          <a:p>
            <a:endParaRPr lang="en-US"/>
          </a:p>
          <a:p>
            <a:endParaRPr lang="en-US"/>
          </a:p>
          <a:p>
            <a:endParaRPr lang="en-US"/>
          </a:p>
          <a:p>
            <a:endParaRPr lang="en-US"/>
          </a:p>
          <a:p>
            <a:r>
              <a:rPr lang="en-US"/>
              <a:t> Insert image here</a:t>
            </a:r>
          </a:p>
        </p:txBody>
      </p:sp>
      <p:sp>
        <p:nvSpPr>
          <p:cNvPr id="3" name="Slide Number Placeholder 2">
            <a:extLst>
              <a:ext uri="{FF2B5EF4-FFF2-40B4-BE49-F238E27FC236}">
                <a16:creationId xmlns:a16="http://schemas.microsoft.com/office/drawing/2014/main" id="{7D5CB28E-DD09-A349-823A-EC35B37D1242}"/>
              </a:ext>
            </a:extLst>
          </p:cNvPr>
          <p:cNvSpPr>
            <a:spLocks noGrp="1"/>
          </p:cNvSpPr>
          <p:nvPr>
            <p:ph type="sldNum" sz="quarter" idx="10"/>
          </p:nvPr>
        </p:nvSpPr>
        <p:spPr/>
        <p:txBody>
          <a:bodyPr/>
          <a:lstStyle>
            <a:lvl1pPr>
              <a:defRPr lang="en-US" smtClean="0">
                <a:solidFill>
                  <a:schemeClr val="bg1"/>
                </a:solidFill>
              </a:defRPr>
            </a:lvl1pPr>
          </a:lstStyle>
          <a:p>
            <a:fld id="{99E61589-955B-3549-AD19-CD847E0672FB}" type="slidenum">
              <a:rPr lang="en-US" smtClean="0"/>
              <a:pPr/>
              <a:t>‹#›</a:t>
            </a:fld>
            <a:endParaRPr lang="en-US"/>
          </a:p>
        </p:txBody>
      </p:sp>
      <p:sp>
        <p:nvSpPr>
          <p:cNvPr id="4" name="Text Placeholder 2">
            <a:extLst>
              <a:ext uri="{FF2B5EF4-FFF2-40B4-BE49-F238E27FC236}">
                <a16:creationId xmlns:a16="http://schemas.microsoft.com/office/drawing/2014/main" id="{EA5C258E-E3DF-0142-B6C8-27E98D44CD98}"/>
              </a:ext>
            </a:extLst>
          </p:cNvPr>
          <p:cNvSpPr>
            <a:spLocks noGrp="1"/>
          </p:cNvSpPr>
          <p:nvPr>
            <p:ph idx="1"/>
          </p:nvPr>
        </p:nvSpPr>
        <p:spPr>
          <a:xfrm>
            <a:off x="315913" y="2091021"/>
            <a:ext cx="5421947" cy="3776380"/>
          </a:xfrm>
          <a:prstGeom prst="rect">
            <a:avLst/>
          </a:prstGeom>
        </p:spPr>
        <p:txBody>
          <a:bodyPr vert="horz" lIns="0" tIns="0" rIns="9144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a:extLst>
              <a:ext uri="{FF2B5EF4-FFF2-40B4-BE49-F238E27FC236}">
                <a16:creationId xmlns:a16="http://schemas.microsoft.com/office/drawing/2014/main" id="{66D1202F-B6EF-744B-A75C-13FCCE1492D5}"/>
              </a:ext>
            </a:extLst>
          </p:cNvPr>
          <p:cNvSpPr>
            <a:spLocks noGrp="1"/>
          </p:cNvSpPr>
          <p:nvPr>
            <p:ph type="title"/>
          </p:nvPr>
        </p:nvSpPr>
        <p:spPr>
          <a:xfrm>
            <a:off x="315913" y="681039"/>
            <a:ext cx="5421947" cy="801442"/>
          </a:xfrm>
        </p:spPr>
        <p:txBody>
          <a:bodyPr/>
          <a:lstStyle>
            <a:lvl1pPr>
              <a:defRPr>
                <a:solidFill>
                  <a:schemeClr val="tx1"/>
                </a:solidFill>
              </a:defRPr>
            </a:lvl1pPr>
          </a:lstStyle>
          <a:p>
            <a:r>
              <a:rPr lang="en-US"/>
              <a:t>Click to edit Master title style</a:t>
            </a:r>
          </a:p>
        </p:txBody>
      </p:sp>
      <p:sp>
        <p:nvSpPr>
          <p:cNvPr id="9" name="Rectangle 8">
            <a:extLst>
              <a:ext uri="{FF2B5EF4-FFF2-40B4-BE49-F238E27FC236}">
                <a16:creationId xmlns:a16="http://schemas.microsoft.com/office/drawing/2014/main" id="{C33E0B93-C063-164E-AD18-F92A25D9DCC6}"/>
              </a:ext>
            </a:extLst>
          </p:cNvPr>
          <p:cNvSpPr/>
          <p:nvPr userDrawn="1"/>
        </p:nvSpPr>
        <p:spPr>
          <a:xfrm>
            <a:off x="315913" y="323850"/>
            <a:ext cx="5421947"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a:extLst>
              <a:ext uri="{FF2B5EF4-FFF2-40B4-BE49-F238E27FC236}">
                <a16:creationId xmlns:a16="http://schemas.microsoft.com/office/drawing/2014/main" id="{A0A6D4EC-BD9E-5A4B-9153-76EB35274CF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46164"/>
          <a:stretch/>
        </p:blipFill>
        <p:spPr>
          <a:xfrm>
            <a:off x="289645" y="6209608"/>
            <a:ext cx="842722" cy="288548"/>
          </a:xfrm>
          <a:prstGeom prst="rect">
            <a:avLst/>
          </a:prstGeom>
        </p:spPr>
      </p:pic>
    </p:spTree>
    <p:extLst>
      <p:ext uri="{BB962C8B-B14F-4D97-AF65-F5344CB8AC3E}">
        <p14:creationId xmlns:p14="http://schemas.microsoft.com/office/powerpoint/2010/main" val="19854141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alf Slide Photo Black">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EDC68532-9000-034C-A828-635D4A2EFD51}"/>
              </a:ext>
            </a:extLst>
          </p:cNvPr>
          <p:cNvSpPr>
            <a:spLocks noGrp="1"/>
          </p:cNvSpPr>
          <p:nvPr>
            <p:ph type="pic" sz="quarter" idx="12"/>
          </p:nvPr>
        </p:nvSpPr>
        <p:spPr>
          <a:xfrm>
            <a:off x="6096000" y="0"/>
            <a:ext cx="6096000" cy="6858000"/>
          </a:xfrm>
          <a:pattFill prst="pct25">
            <a:fgClr>
              <a:schemeClr val="tx1"/>
            </a:fgClr>
            <a:bgClr>
              <a:schemeClr val="bg1"/>
            </a:bgClr>
          </a:pattFill>
        </p:spPr>
        <p:txBody>
          <a:bodyPr/>
          <a:lstStyle>
            <a:lvl1pPr algn="ctr">
              <a:defRPr sz="1200">
                <a:solidFill>
                  <a:schemeClr val="tx1"/>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r>
              <a:rPr lang="en-US"/>
              <a:t> Insert image here</a:t>
            </a:r>
          </a:p>
        </p:txBody>
      </p:sp>
      <p:sp>
        <p:nvSpPr>
          <p:cNvPr id="10" name="Rectangle 9">
            <a:extLst>
              <a:ext uri="{FF2B5EF4-FFF2-40B4-BE49-F238E27FC236}">
                <a16:creationId xmlns:a16="http://schemas.microsoft.com/office/drawing/2014/main" id="{7E6326AB-6E27-3049-B9C4-648F75DC4A0E}"/>
              </a:ext>
            </a:extLst>
          </p:cNvPr>
          <p:cNvSpPr/>
          <p:nvPr userDrawn="1"/>
        </p:nvSpPr>
        <p:spPr>
          <a:xfrm>
            <a:off x="0" y="-3"/>
            <a:ext cx="6096000" cy="68580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7D5CB28E-DD09-A349-823A-EC35B37D1242}"/>
              </a:ext>
            </a:extLst>
          </p:cNvPr>
          <p:cNvSpPr>
            <a:spLocks noGrp="1"/>
          </p:cNvSpPr>
          <p:nvPr>
            <p:ph type="sldNum" sz="quarter" idx="10"/>
          </p:nvPr>
        </p:nvSpPr>
        <p:spPr/>
        <p:txBody>
          <a:bodyPr/>
          <a:lstStyle>
            <a:lvl1pPr>
              <a:defRPr lang="en-US" smtClean="0">
                <a:solidFill>
                  <a:schemeClr val="bg1"/>
                </a:solidFill>
              </a:defRPr>
            </a:lvl1pPr>
          </a:lstStyle>
          <a:p>
            <a:fld id="{99E61589-955B-3549-AD19-CD847E0672FB}" type="slidenum">
              <a:rPr lang="en-US" smtClean="0"/>
              <a:pPr/>
              <a:t>‹#›</a:t>
            </a:fld>
            <a:endParaRPr lang="en-US"/>
          </a:p>
        </p:txBody>
      </p:sp>
      <p:sp>
        <p:nvSpPr>
          <p:cNvPr id="4" name="Text Placeholder 2">
            <a:extLst>
              <a:ext uri="{FF2B5EF4-FFF2-40B4-BE49-F238E27FC236}">
                <a16:creationId xmlns:a16="http://schemas.microsoft.com/office/drawing/2014/main" id="{EA5C258E-E3DF-0142-B6C8-27E98D44CD98}"/>
              </a:ext>
            </a:extLst>
          </p:cNvPr>
          <p:cNvSpPr>
            <a:spLocks noGrp="1"/>
          </p:cNvSpPr>
          <p:nvPr>
            <p:ph idx="1"/>
          </p:nvPr>
        </p:nvSpPr>
        <p:spPr>
          <a:xfrm>
            <a:off x="315913" y="2091021"/>
            <a:ext cx="5421947" cy="3776380"/>
          </a:xfrm>
          <a:prstGeom prst="rect">
            <a:avLst/>
          </a:prstGeom>
        </p:spPr>
        <p:txBody>
          <a:bodyPr vert="horz" lIns="0" tIns="0" rIns="9144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a:extLst>
              <a:ext uri="{FF2B5EF4-FFF2-40B4-BE49-F238E27FC236}">
                <a16:creationId xmlns:a16="http://schemas.microsoft.com/office/drawing/2014/main" id="{66D1202F-B6EF-744B-A75C-13FCCE1492D5}"/>
              </a:ext>
            </a:extLst>
          </p:cNvPr>
          <p:cNvSpPr>
            <a:spLocks noGrp="1"/>
          </p:cNvSpPr>
          <p:nvPr>
            <p:ph type="title"/>
          </p:nvPr>
        </p:nvSpPr>
        <p:spPr>
          <a:xfrm>
            <a:off x="315913" y="681039"/>
            <a:ext cx="5421947" cy="801442"/>
          </a:xfrm>
        </p:spPr>
        <p:txBody>
          <a:bodyPr/>
          <a:lstStyle>
            <a:lvl1pPr>
              <a:defRPr>
                <a:solidFill>
                  <a:schemeClr val="bg1"/>
                </a:solidFill>
              </a:defRPr>
            </a:lvl1pPr>
          </a:lstStyle>
          <a:p>
            <a:r>
              <a:rPr lang="en-US"/>
              <a:t>Click to edit Master title style</a:t>
            </a:r>
          </a:p>
        </p:txBody>
      </p:sp>
      <p:sp>
        <p:nvSpPr>
          <p:cNvPr id="9" name="Rectangle 8">
            <a:extLst>
              <a:ext uri="{FF2B5EF4-FFF2-40B4-BE49-F238E27FC236}">
                <a16:creationId xmlns:a16="http://schemas.microsoft.com/office/drawing/2014/main" id="{C33E0B93-C063-164E-AD18-F92A25D9DCC6}"/>
              </a:ext>
            </a:extLst>
          </p:cNvPr>
          <p:cNvSpPr/>
          <p:nvPr userDrawn="1"/>
        </p:nvSpPr>
        <p:spPr>
          <a:xfrm>
            <a:off x="315913" y="323850"/>
            <a:ext cx="5421947"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AC92CCBA-C3BE-114B-861C-23DC51313260}"/>
              </a:ext>
            </a:extLst>
          </p:cNvPr>
          <p:cNvGrpSpPr/>
          <p:nvPr userDrawn="1"/>
        </p:nvGrpSpPr>
        <p:grpSpPr>
          <a:xfrm>
            <a:off x="289645" y="6209608"/>
            <a:ext cx="842722" cy="288548"/>
            <a:chOff x="289645" y="6209608"/>
            <a:chExt cx="842722" cy="288548"/>
          </a:xfrm>
        </p:grpSpPr>
        <p:pic>
          <p:nvPicPr>
            <p:cNvPr id="12" name="Graphic 11">
              <a:extLst>
                <a:ext uri="{FF2B5EF4-FFF2-40B4-BE49-F238E27FC236}">
                  <a16:creationId xmlns:a16="http://schemas.microsoft.com/office/drawing/2014/main" id="{E26A08B5-47A4-6548-B134-FC7B4644098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80372"/>
            <a:stretch/>
          </p:blipFill>
          <p:spPr>
            <a:xfrm>
              <a:off x="289645" y="6209608"/>
              <a:ext cx="307255" cy="288548"/>
            </a:xfrm>
            <a:prstGeom prst="rect">
              <a:avLst/>
            </a:prstGeom>
          </p:spPr>
        </p:pic>
        <p:pic>
          <p:nvPicPr>
            <p:cNvPr id="13" name="Graphic 12">
              <a:extLst>
                <a:ext uri="{FF2B5EF4-FFF2-40B4-BE49-F238E27FC236}">
                  <a16:creationId xmlns:a16="http://schemas.microsoft.com/office/drawing/2014/main" id="{10473832-3282-1E48-B025-F5C223393AA3}"/>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9776" r="46164"/>
            <a:stretch/>
          </p:blipFill>
          <p:spPr>
            <a:xfrm>
              <a:off x="599207" y="6209608"/>
              <a:ext cx="533160" cy="288548"/>
            </a:xfrm>
            <a:prstGeom prst="rect">
              <a:avLst/>
            </a:prstGeom>
          </p:spPr>
        </p:pic>
      </p:grpSp>
    </p:spTree>
    <p:extLst>
      <p:ext uri="{BB962C8B-B14F-4D97-AF65-F5344CB8AC3E}">
        <p14:creationId xmlns:p14="http://schemas.microsoft.com/office/powerpoint/2010/main" val="30000303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E6326AB-6E27-3049-B9C4-648F75DC4A0E}"/>
              </a:ext>
            </a:extLst>
          </p:cNvPr>
          <p:cNvSpPr/>
          <p:nvPr userDrawn="1"/>
        </p:nvSpPr>
        <p:spPr>
          <a:xfrm>
            <a:off x="0" y="-3"/>
            <a:ext cx="6096000" cy="68580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5B89F31E-342F-A147-B96F-663C42DB08C2}"/>
              </a:ext>
            </a:extLst>
          </p:cNvPr>
          <p:cNvSpPr>
            <a:spLocks noGrp="1"/>
          </p:cNvSpPr>
          <p:nvPr>
            <p:ph type="body" sz="quarter" idx="13"/>
          </p:nvPr>
        </p:nvSpPr>
        <p:spPr>
          <a:xfrm>
            <a:off x="315913" y="2090738"/>
            <a:ext cx="5421312" cy="37766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Slide Number Placeholder 2">
            <a:extLst>
              <a:ext uri="{FF2B5EF4-FFF2-40B4-BE49-F238E27FC236}">
                <a16:creationId xmlns:a16="http://schemas.microsoft.com/office/drawing/2014/main" id="{7D5CB28E-DD09-A349-823A-EC35B37D1242}"/>
              </a:ext>
            </a:extLst>
          </p:cNvPr>
          <p:cNvSpPr>
            <a:spLocks noGrp="1"/>
          </p:cNvSpPr>
          <p:nvPr>
            <p:ph type="sldNum" sz="quarter" idx="10"/>
          </p:nvPr>
        </p:nvSpPr>
        <p:spPr/>
        <p:txBody>
          <a:bodyPr/>
          <a:lstStyle>
            <a:lvl1pPr>
              <a:defRPr lang="en-US" smtClean="0">
                <a:solidFill>
                  <a:schemeClr val="tx1"/>
                </a:solidFill>
              </a:defRPr>
            </a:lvl1pPr>
          </a:lstStyle>
          <a:p>
            <a:fld id="{99E61589-955B-3549-AD19-CD847E0672FB}" type="slidenum">
              <a:rPr lang="en-US" smtClean="0"/>
              <a:pPr/>
              <a:t>‹#›</a:t>
            </a:fld>
            <a:endParaRPr lang="en-US"/>
          </a:p>
        </p:txBody>
      </p:sp>
      <p:sp>
        <p:nvSpPr>
          <p:cNvPr id="7" name="Title 1">
            <a:extLst>
              <a:ext uri="{FF2B5EF4-FFF2-40B4-BE49-F238E27FC236}">
                <a16:creationId xmlns:a16="http://schemas.microsoft.com/office/drawing/2014/main" id="{66D1202F-B6EF-744B-A75C-13FCCE1492D5}"/>
              </a:ext>
            </a:extLst>
          </p:cNvPr>
          <p:cNvSpPr>
            <a:spLocks noGrp="1"/>
          </p:cNvSpPr>
          <p:nvPr>
            <p:ph type="title"/>
          </p:nvPr>
        </p:nvSpPr>
        <p:spPr>
          <a:xfrm>
            <a:off x="315913" y="681039"/>
            <a:ext cx="5421947" cy="801442"/>
          </a:xfrm>
        </p:spPr>
        <p:txBody>
          <a:bodyPr/>
          <a:lstStyle>
            <a:lvl1pPr>
              <a:defRPr>
                <a:solidFill>
                  <a:schemeClr val="bg1"/>
                </a:solidFill>
              </a:defRPr>
            </a:lvl1pPr>
          </a:lstStyle>
          <a:p>
            <a:r>
              <a:rPr lang="en-US"/>
              <a:t>Click to edit Master title style</a:t>
            </a:r>
          </a:p>
        </p:txBody>
      </p:sp>
      <p:sp>
        <p:nvSpPr>
          <p:cNvPr id="9" name="Rectangle 8">
            <a:extLst>
              <a:ext uri="{FF2B5EF4-FFF2-40B4-BE49-F238E27FC236}">
                <a16:creationId xmlns:a16="http://schemas.microsoft.com/office/drawing/2014/main" id="{C33E0B93-C063-164E-AD18-F92A25D9DCC6}"/>
              </a:ext>
            </a:extLst>
          </p:cNvPr>
          <p:cNvSpPr/>
          <p:nvPr userDrawn="1"/>
        </p:nvSpPr>
        <p:spPr>
          <a:xfrm>
            <a:off x="315913" y="323850"/>
            <a:ext cx="5421947"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hart Placeholder 11">
            <a:extLst>
              <a:ext uri="{FF2B5EF4-FFF2-40B4-BE49-F238E27FC236}">
                <a16:creationId xmlns:a16="http://schemas.microsoft.com/office/drawing/2014/main" id="{44C51DB5-E1DB-AC46-A046-BD862485CAA5}"/>
              </a:ext>
            </a:extLst>
          </p:cNvPr>
          <p:cNvSpPr>
            <a:spLocks noGrp="1"/>
          </p:cNvSpPr>
          <p:nvPr>
            <p:ph type="chart" sz="quarter" idx="14" hasCustomPrompt="1"/>
          </p:nvPr>
        </p:nvSpPr>
        <p:spPr>
          <a:xfrm>
            <a:off x="6457950" y="1482725"/>
            <a:ext cx="5345113" cy="4384675"/>
          </a:xfrm>
        </p:spPr>
        <p:txBody>
          <a:bodyPr/>
          <a:lstStyle/>
          <a:p>
            <a:r>
              <a:rPr lang="en-US"/>
              <a:t> </a:t>
            </a:r>
          </a:p>
        </p:txBody>
      </p:sp>
      <p:grpSp>
        <p:nvGrpSpPr>
          <p:cNvPr id="11" name="Group 10">
            <a:extLst>
              <a:ext uri="{FF2B5EF4-FFF2-40B4-BE49-F238E27FC236}">
                <a16:creationId xmlns:a16="http://schemas.microsoft.com/office/drawing/2014/main" id="{970FF8FA-1795-3146-8574-C386D1AED17F}"/>
              </a:ext>
            </a:extLst>
          </p:cNvPr>
          <p:cNvGrpSpPr/>
          <p:nvPr userDrawn="1"/>
        </p:nvGrpSpPr>
        <p:grpSpPr>
          <a:xfrm>
            <a:off x="289645" y="6209608"/>
            <a:ext cx="842722" cy="288548"/>
            <a:chOff x="289645" y="6209608"/>
            <a:chExt cx="842722" cy="288548"/>
          </a:xfrm>
        </p:grpSpPr>
        <p:pic>
          <p:nvPicPr>
            <p:cNvPr id="13" name="Graphic 12">
              <a:extLst>
                <a:ext uri="{FF2B5EF4-FFF2-40B4-BE49-F238E27FC236}">
                  <a16:creationId xmlns:a16="http://schemas.microsoft.com/office/drawing/2014/main" id="{8F51C4ED-7181-3646-9339-3BE88DD0ADE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80372"/>
            <a:stretch/>
          </p:blipFill>
          <p:spPr>
            <a:xfrm>
              <a:off x="289645" y="6209608"/>
              <a:ext cx="307255" cy="288548"/>
            </a:xfrm>
            <a:prstGeom prst="rect">
              <a:avLst/>
            </a:prstGeom>
          </p:spPr>
        </p:pic>
        <p:pic>
          <p:nvPicPr>
            <p:cNvPr id="14" name="Graphic 13">
              <a:extLst>
                <a:ext uri="{FF2B5EF4-FFF2-40B4-BE49-F238E27FC236}">
                  <a16:creationId xmlns:a16="http://schemas.microsoft.com/office/drawing/2014/main" id="{3FDA23EC-068C-AA4C-A2E2-4740DEE6432C}"/>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9776" r="46164"/>
            <a:stretch/>
          </p:blipFill>
          <p:spPr>
            <a:xfrm>
              <a:off x="599207" y="6209608"/>
              <a:ext cx="533160" cy="288548"/>
            </a:xfrm>
            <a:prstGeom prst="rect">
              <a:avLst/>
            </a:prstGeom>
          </p:spPr>
        </p:pic>
      </p:grpSp>
    </p:spTree>
    <p:extLst>
      <p:ext uri="{BB962C8B-B14F-4D97-AF65-F5344CB8AC3E}">
        <p14:creationId xmlns:p14="http://schemas.microsoft.com/office/powerpoint/2010/main" val="39200875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4" name="Table Placeholder 3">
            <a:extLst>
              <a:ext uri="{FF2B5EF4-FFF2-40B4-BE49-F238E27FC236}">
                <a16:creationId xmlns:a16="http://schemas.microsoft.com/office/drawing/2014/main" id="{361FB570-A095-D74E-B327-387A8E98C94B}"/>
              </a:ext>
            </a:extLst>
          </p:cNvPr>
          <p:cNvSpPr>
            <a:spLocks noGrp="1"/>
          </p:cNvSpPr>
          <p:nvPr>
            <p:ph type="tbl" sz="quarter" idx="15" hasCustomPrompt="1"/>
          </p:nvPr>
        </p:nvSpPr>
        <p:spPr>
          <a:xfrm>
            <a:off x="6457950" y="1482725"/>
            <a:ext cx="5345113" cy="4384675"/>
          </a:xfrm>
        </p:spPr>
        <p:txBody>
          <a:bodyPr/>
          <a:lstStyle/>
          <a:p>
            <a:r>
              <a:rPr lang="en-US"/>
              <a:t> </a:t>
            </a:r>
          </a:p>
        </p:txBody>
      </p:sp>
      <p:sp>
        <p:nvSpPr>
          <p:cNvPr id="10" name="Rectangle 9">
            <a:extLst>
              <a:ext uri="{FF2B5EF4-FFF2-40B4-BE49-F238E27FC236}">
                <a16:creationId xmlns:a16="http://schemas.microsoft.com/office/drawing/2014/main" id="{7E6326AB-6E27-3049-B9C4-648F75DC4A0E}"/>
              </a:ext>
            </a:extLst>
          </p:cNvPr>
          <p:cNvSpPr/>
          <p:nvPr userDrawn="1"/>
        </p:nvSpPr>
        <p:spPr>
          <a:xfrm>
            <a:off x="0" y="-3"/>
            <a:ext cx="6096000" cy="68580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5B89F31E-342F-A147-B96F-663C42DB08C2}"/>
              </a:ext>
            </a:extLst>
          </p:cNvPr>
          <p:cNvSpPr>
            <a:spLocks noGrp="1"/>
          </p:cNvSpPr>
          <p:nvPr>
            <p:ph type="body" sz="quarter" idx="13"/>
          </p:nvPr>
        </p:nvSpPr>
        <p:spPr>
          <a:xfrm>
            <a:off x="315913" y="2090738"/>
            <a:ext cx="5421312" cy="37766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Slide Number Placeholder 2">
            <a:extLst>
              <a:ext uri="{FF2B5EF4-FFF2-40B4-BE49-F238E27FC236}">
                <a16:creationId xmlns:a16="http://schemas.microsoft.com/office/drawing/2014/main" id="{7D5CB28E-DD09-A349-823A-EC35B37D1242}"/>
              </a:ext>
            </a:extLst>
          </p:cNvPr>
          <p:cNvSpPr>
            <a:spLocks noGrp="1"/>
          </p:cNvSpPr>
          <p:nvPr>
            <p:ph type="sldNum" sz="quarter" idx="10"/>
          </p:nvPr>
        </p:nvSpPr>
        <p:spPr/>
        <p:txBody>
          <a:bodyPr/>
          <a:lstStyle>
            <a:lvl1pPr>
              <a:defRPr lang="en-US" smtClean="0">
                <a:solidFill>
                  <a:schemeClr val="tx1"/>
                </a:solidFill>
              </a:defRPr>
            </a:lvl1pPr>
          </a:lstStyle>
          <a:p>
            <a:fld id="{99E61589-955B-3549-AD19-CD847E0672FB}" type="slidenum">
              <a:rPr lang="en-US" smtClean="0"/>
              <a:pPr/>
              <a:t>‹#›</a:t>
            </a:fld>
            <a:endParaRPr lang="en-US"/>
          </a:p>
        </p:txBody>
      </p:sp>
      <p:sp>
        <p:nvSpPr>
          <p:cNvPr id="7" name="Title 1">
            <a:extLst>
              <a:ext uri="{FF2B5EF4-FFF2-40B4-BE49-F238E27FC236}">
                <a16:creationId xmlns:a16="http://schemas.microsoft.com/office/drawing/2014/main" id="{66D1202F-B6EF-744B-A75C-13FCCE1492D5}"/>
              </a:ext>
            </a:extLst>
          </p:cNvPr>
          <p:cNvSpPr>
            <a:spLocks noGrp="1"/>
          </p:cNvSpPr>
          <p:nvPr>
            <p:ph type="title"/>
          </p:nvPr>
        </p:nvSpPr>
        <p:spPr>
          <a:xfrm>
            <a:off x="315913" y="681039"/>
            <a:ext cx="5421947" cy="801442"/>
          </a:xfrm>
        </p:spPr>
        <p:txBody>
          <a:bodyPr/>
          <a:lstStyle>
            <a:lvl1pPr>
              <a:defRPr>
                <a:solidFill>
                  <a:schemeClr val="bg1"/>
                </a:solidFill>
              </a:defRPr>
            </a:lvl1pPr>
          </a:lstStyle>
          <a:p>
            <a:r>
              <a:rPr lang="en-US"/>
              <a:t>Click to edit Master title style</a:t>
            </a:r>
          </a:p>
        </p:txBody>
      </p:sp>
      <p:sp>
        <p:nvSpPr>
          <p:cNvPr id="9" name="Rectangle 8">
            <a:extLst>
              <a:ext uri="{FF2B5EF4-FFF2-40B4-BE49-F238E27FC236}">
                <a16:creationId xmlns:a16="http://schemas.microsoft.com/office/drawing/2014/main" id="{C33E0B93-C063-164E-AD18-F92A25D9DCC6}"/>
              </a:ext>
            </a:extLst>
          </p:cNvPr>
          <p:cNvSpPr/>
          <p:nvPr userDrawn="1"/>
        </p:nvSpPr>
        <p:spPr>
          <a:xfrm>
            <a:off x="315913" y="323850"/>
            <a:ext cx="5421947" cy="13335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A36BA931-AD31-AB49-A612-3D70D35D927A}"/>
              </a:ext>
            </a:extLst>
          </p:cNvPr>
          <p:cNvGrpSpPr/>
          <p:nvPr userDrawn="1"/>
        </p:nvGrpSpPr>
        <p:grpSpPr>
          <a:xfrm>
            <a:off x="289645" y="6209608"/>
            <a:ext cx="842722" cy="288548"/>
            <a:chOff x="289645" y="6209608"/>
            <a:chExt cx="842722" cy="288548"/>
          </a:xfrm>
        </p:grpSpPr>
        <p:pic>
          <p:nvPicPr>
            <p:cNvPr id="12" name="Graphic 11">
              <a:extLst>
                <a:ext uri="{FF2B5EF4-FFF2-40B4-BE49-F238E27FC236}">
                  <a16:creationId xmlns:a16="http://schemas.microsoft.com/office/drawing/2014/main" id="{377CC0A0-F19D-A64C-8869-90044325A6A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80372"/>
            <a:stretch/>
          </p:blipFill>
          <p:spPr>
            <a:xfrm>
              <a:off x="289645" y="6209608"/>
              <a:ext cx="307255" cy="288548"/>
            </a:xfrm>
            <a:prstGeom prst="rect">
              <a:avLst/>
            </a:prstGeom>
          </p:spPr>
        </p:pic>
        <p:pic>
          <p:nvPicPr>
            <p:cNvPr id="13" name="Graphic 12">
              <a:extLst>
                <a:ext uri="{FF2B5EF4-FFF2-40B4-BE49-F238E27FC236}">
                  <a16:creationId xmlns:a16="http://schemas.microsoft.com/office/drawing/2014/main" id="{94715E36-1DD5-8249-B868-984989011947}"/>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9776" r="46164"/>
            <a:stretch/>
          </p:blipFill>
          <p:spPr>
            <a:xfrm>
              <a:off x="599207" y="6209608"/>
              <a:ext cx="533160" cy="288548"/>
            </a:xfrm>
            <a:prstGeom prst="rect">
              <a:avLst/>
            </a:prstGeom>
          </p:spPr>
        </p:pic>
      </p:grpSp>
    </p:spTree>
    <p:extLst>
      <p:ext uri="{BB962C8B-B14F-4D97-AF65-F5344CB8AC3E}">
        <p14:creationId xmlns:p14="http://schemas.microsoft.com/office/powerpoint/2010/main" val="40588962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E6326AB-6E27-3049-B9C4-648F75DC4A0E}"/>
              </a:ext>
            </a:extLst>
          </p:cNvPr>
          <p:cNvSpPr/>
          <p:nvPr userDrawn="1"/>
        </p:nvSpPr>
        <p:spPr>
          <a:xfrm>
            <a:off x="0" y="-3"/>
            <a:ext cx="12192000" cy="68580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66D1202F-B6EF-744B-A75C-13FCCE1492D5}"/>
              </a:ext>
            </a:extLst>
          </p:cNvPr>
          <p:cNvSpPr>
            <a:spLocks noGrp="1"/>
          </p:cNvSpPr>
          <p:nvPr>
            <p:ph type="title" hasCustomPrompt="1"/>
          </p:nvPr>
        </p:nvSpPr>
        <p:spPr>
          <a:xfrm>
            <a:off x="457200" y="1685589"/>
            <a:ext cx="6886280" cy="3486818"/>
          </a:xfrm>
        </p:spPr>
        <p:txBody>
          <a:bodyPr anchor="ctr"/>
          <a:lstStyle>
            <a:lvl1pPr>
              <a:defRPr sz="5600">
                <a:solidFill>
                  <a:schemeClr val="bg1"/>
                </a:solidFill>
              </a:defRPr>
            </a:lvl1pPr>
          </a:lstStyle>
          <a:p>
            <a:r>
              <a:rPr lang="en-US"/>
              <a:t>Thank You</a:t>
            </a:r>
          </a:p>
        </p:txBody>
      </p:sp>
      <p:sp>
        <p:nvSpPr>
          <p:cNvPr id="13" name="Rectangle 12">
            <a:extLst>
              <a:ext uri="{FF2B5EF4-FFF2-40B4-BE49-F238E27FC236}">
                <a16:creationId xmlns:a16="http://schemas.microsoft.com/office/drawing/2014/main" id="{384A6091-82A5-7140-A875-78042E3ECF17}"/>
              </a:ext>
            </a:extLst>
          </p:cNvPr>
          <p:cNvSpPr/>
          <p:nvPr userDrawn="1"/>
        </p:nvSpPr>
        <p:spPr>
          <a:xfrm>
            <a:off x="0" y="-1"/>
            <a:ext cx="12192000" cy="22860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A714F7CA-7500-7141-B146-60316B280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042624"/>
            <a:ext cx="1639229" cy="302169"/>
          </a:xfrm>
          <a:prstGeom prst="rect">
            <a:avLst/>
          </a:prstGeom>
        </p:spPr>
      </p:pic>
    </p:spTree>
    <p:extLst>
      <p:ext uri="{BB962C8B-B14F-4D97-AF65-F5344CB8AC3E}">
        <p14:creationId xmlns:p14="http://schemas.microsoft.com/office/powerpoint/2010/main" val="5308250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53823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99D0C95-2AAF-324C-BE6A-A32FB5E39157}"/>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8995651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2245C4A4-F3DB-2413-6FC2-8C80A1442FE4}"/>
              </a:ext>
            </a:extLst>
          </p:cNvPr>
          <p:cNvSpPr>
            <a:spLocks noGrp="1"/>
          </p:cNvSpPr>
          <p:nvPr>
            <p:ph type="title" hasCustomPrompt="1"/>
          </p:nvPr>
        </p:nvSpPr>
        <p:spPr>
          <a:xfrm>
            <a:off x="804673" y="507977"/>
            <a:ext cx="11062799" cy="492443"/>
          </a:xfrm>
          <a:noFill/>
        </p:spPr>
        <p:txBody>
          <a:bodyPr anchor="t"/>
          <a:lstStyle>
            <a:lvl1pPr>
              <a:lnSpc>
                <a:spcPct val="100000"/>
              </a:lnSpc>
              <a:defRPr lang="en-US" sz="3200" b="0" i="0" kern="1200" smtClean="0">
                <a:solidFill>
                  <a:schemeClr val="tx1"/>
                </a:solidFill>
                <a:latin typeface="+mj-lt"/>
                <a:ea typeface="Barlow Condensed Medium" pitchFamily="2" charset="77"/>
                <a:cs typeface="Barlow Condensed Medium" pitchFamily="2" charset="77"/>
              </a:defRPr>
            </a:lvl1pPr>
          </a:lstStyle>
          <a:p>
            <a:r>
              <a:rPr lang="en-GB"/>
              <a:t>Click to edit title</a:t>
            </a:r>
            <a:endParaRPr lang="en-US"/>
          </a:p>
        </p:txBody>
      </p:sp>
      <p:sp>
        <p:nvSpPr>
          <p:cNvPr id="2" name="Text Placeholder 15">
            <a:extLst>
              <a:ext uri="{FF2B5EF4-FFF2-40B4-BE49-F238E27FC236}">
                <a16:creationId xmlns:a16="http://schemas.microsoft.com/office/drawing/2014/main" id="{077651E6-9D71-D947-8B82-D56321A08360}"/>
              </a:ext>
            </a:extLst>
          </p:cNvPr>
          <p:cNvSpPr>
            <a:spLocks noGrp="1"/>
          </p:cNvSpPr>
          <p:nvPr>
            <p:ph type="body" sz="quarter" idx="15" hasCustomPrompt="1"/>
          </p:nvPr>
        </p:nvSpPr>
        <p:spPr>
          <a:xfrm>
            <a:off x="3244600" y="539044"/>
            <a:ext cx="923139" cy="430306"/>
          </a:xfrm>
          <a:solidFill>
            <a:schemeClr val="tx1"/>
          </a:solidFill>
        </p:spPr>
        <p:txBody>
          <a:bodyPr wrap="square" lIns="36000" tIns="36000" rIns="36000" bIns="0" anchor="ctr">
            <a:spAutoFit/>
          </a:bodyPr>
          <a:lstStyle>
            <a:lvl1pPr algn="ctr">
              <a:lnSpc>
                <a:spcPct val="80000"/>
              </a:lnSpc>
              <a:spcBef>
                <a:spcPts val="0"/>
              </a:spcBef>
              <a:spcAft>
                <a:spcPts val="0"/>
              </a:spcAft>
              <a:defRPr sz="3200" b="0" i="0">
                <a:solidFill>
                  <a:schemeClr val="accent1"/>
                </a:solidFill>
                <a:latin typeface="+mj-lt"/>
              </a:defRPr>
            </a:lvl1pPr>
          </a:lstStyle>
          <a:p>
            <a:pPr lvl="0"/>
            <a:r>
              <a:rPr lang="en-AU"/>
              <a:t>Black</a:t>
            </a:r>
          </a:p>
        </p:txBody>
      </p:sp>
    </p:spTree>
    <p:extLst>
      <p:ext uri="{BB962C8B-B14F-4D97-AF65-F5344CB8AC3E}">
        <p14:creationId xmlns:p14="http://schemas.microsoft.com/office/powerpoint/2010/main" val="4146273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F15E73F-79E3-5611-37C4-5CD507FD447A}"/>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901199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E96571-D3DE-D14E-B84F-2B505EEB25D7}"/>
              </a:ext>
            </a:extLst>
          </p:cNvPr>
          <p:cNvSpPr/>
          <p:nvPr userDrawn="1"/>
        </p:nvSpPr>
        <p:spPr>
          <a:xfrm>
            <a:off x="0" y="-3"/>
            <a:ext cx="11506200" cy="68580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63E281CD-A54D-3442-B2F6-DCC90535935E}"/>
              </a:ext>
            </a:extLst>
          </p:cNvPr>
          <p:cNvSpPr>
            <a:spLocks noGrp="1"/>
          </p:cNvSpPr>
          <p:nvPr>
            <p:ph type="body" sz="quarter" idx="11" hasCustomPrompt="1"/>
          </p:nvPr>
        </p:nvSpPr>
        <p:spPr>
          <a:xfrm>
            <a:off x="457200" y="483251"/>
            <a:ext cx="6562165" cy="184944"/>
          </a:xfrm>
        </p:spPr>
        <p:txBody>
          <a:bodyPr rIns="0" anchor="b"/>
          <a:lstStyle>
            <a:lvl1pPr algn="l">
              <a:defRPr lang="en-US" sz="1200" b="1" kern="1200" baseline="0" dirty="0" smtClean="0">
                <a:solidFill>
                  <a:schemeClr val="accent2"/>
                </a:solidFill>
                <a:latin typeface="Arial" panose="020B0604020202020204" pitchFamily="34" charset="0"/>
                <a:ea typeface="+mn-ea"/>
                <a:cs typeface="Arial" panose="020B0604020202020204" pitchFamily="34" charset="0"/>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Subtitle Goes Here</a:t>
            </a:r>
          </a:p>
        </p:txBody>
      </p:sp>
      <p:sp>
        <p:nvSpPr>
          <p:cNvPr id="13" name="Text Placeholder 2">
            <a:extLst>
              <a:ext uri="{FF2B5EF4-FFF2-40B4-BE49-F238E27FC236}">
                <a16:creationId xmlns:a16="http://schemas.microsoft.com/office/drawing/2014/main" id="{F444DE9C-F571-BB4C-9C1C-7332F4140BF6}"/>
              </a:ext>
            </a:extLst>
          </p:cNvPr>
          <p:cNvSpPr>
            <a:spLocks noGrp="1"/>
          </p:cNvSpPr>
          <p:nvPr>
            <p:ph type="body" sz="quarter" idx="12" hasCustomPrompt="1"/>
          </p:nvPr>
        </p:nvSpPr>
        <p:spPr>
          <a:xfrm>
            <a:off x="457201" y="661482"/>
            <a:ext cx="6562162" cy="184944"/>
          </a:xfrm>
        </p:spPr>
        <p:txBody>
          <a:bodyPr rIns="0" anchor="b"/>
          <a:lstStyle>
            <a:lvl1pPr algn="l">
              <a:defRPr lang="en-US" sz="1200" b="0" kern="1200" baseline="0" dirty="0">
                <a:solidFill>
                  <a:schemeClr val="accent2"/>
                </a:solidFill>
                <a:latin typeface="+mn-lt"/>
                <a:ea typeface="+mn-ea"/>
                <a:cs typeface="+mn-cs"/>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00.00.0000</a:t>
            </a:r>
          </a:p>
        </p:txBody>
      </p:sp>
      <p:sp>
        <p:nvSpPr>
          <p:cNvPr id="4" name="Text Placeholder 3">
            <a:extLst>
              <a:ext uri="{FF2B5EF4-FFF2-40B4-BE49-F238E27FC236}">
                <a16:creationId xmlns:a16="http://schemas.microsoft.com/office/drawing/2014/main" id="{4C1B3CE5-5669-E845-98B1-856DE736BC17}"/>
              </a:ext>
            </a:extLst>
          </p:cNvPr>
          <p:cNvSpPr>
            <a:spLocks noGrp="1"/>
          </p:cNvSpPr>
          <p:nvPr>
            <p:ph type="body" sz="quarter" idx="10" hasCustomPrompt="1"/>
          </p:nvPr>
        </p:nvSpPr>
        <p:spPr>
          <a:xfrm>
            <a:off x="457200" y="2007097"/>
            <a:ext cx="6562165" cy="2928460"/>
          </a:xfrm>
        </p:spPr>
        <p:txBody>
          <a:bodyPr rIns="0" anchor="ctr"/>
          <a:lstStyle>
            <a:lvl1pPr algn="l">
              <a:lnSpc>
                <a:spcPct val="80000"/>
              </a:lnSpc>
              <a:defRPr kumimoji="0" lang="en-US" sz="5600" b="1" i="0" u="none" strike="noStrike" kern="1200" cap="none" spc="0" normalizeH="0" baseline="0" dirty="0">
                <a:ln>
                  <a:noFill/>
                </a:ln>
                <a:solidFill>
                  <a:schemeClr val="bg1"/>
                </a:solidFill>
                <a:effectLst/>
                <a:uLnTx/>
                <a:uFillTx/>
                <a:latin typeface="Arial" panose="020B0604020202020204"/>
                <a:ea typeface="+mj-ea"/>
                <a:cs typeface="Arial" panose="020B0604020202020204" pitchFamily="34" charset="0"/>
              </a:defRPr>
            </a:lvl1pPr>
          </a:lstStyle>
          <a:p>
            <a:pPr lvl="0"/>
            <a:r>
              <a:rPr lang="en-US"/>
              <a:t>Two, Three or Four Line Presentation Title Goes Here</a:t>
            </a:r>
          </a:p>
        </p:txBody>
      </p:sp>
      <p:sp>
        <p:nvSpPr>
          <p:cNvPr id="11" name="Rectangle 10">
            <a:extLst>
              <a:ext uri="{FF2B5EF4-FFF2-40B4-BE49-F238E27FC236}">
                <a16:creationId xmlns:a16="http://schemas.microsoft.com/office/drawing/2014/main" id="{FD3EBE4A-1B67-564B-AB9C-CB14A996DDC3}"/>
              </a:ext>
            </a:extLst>
          </p:cNvPr>
          <p:cNvSpPr/>
          <p:nvPr userDrawn="1"/>
        </p:nvSpPr>
        <p:spPr>
          <a:xfrm rot="10800000">
            <a:off x="11506200" y="-3"/>
            <a:ext cx="685800" cy="6858002"/>
          </a:xfrm>
          <a:prstGeom prst="rect">
            <a:avLst/>
          </a:prstGeom>
          <a:gradFill>
            <a:gsLst>
              <a:gs pos="0">
                <a:srgbClr val="D1A33C"/>
              </a:gs>
              <a:gs pos="100000">
                <a:srgbClr val="F2D71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extLst>
              <a:ext uri="{FF2B5EF4-FFF2-40B4-BE49-F238E27FC236}">
                <a16:creationId xmlns:a16="http://schemas.microsoft.com/office/drawing/2014/main" id="{E497A7C5-26BB-A14C-86C7-70222AC86F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042624"/>
            <a:ext cx="1639229" cy="302169"/>
          </a:xfrm>
          <a:prstGeom prst="rect">
            <a:avLst/>
          </a:prstGeom>
        </p:spPr>
      </p:pic>
    </p:spTree>
    <p:extLst>
      <p:ext uri="{BB962C8B-B14F-4D97-AF65-F5344CB8AC3E}">
        <p14:creationId xmlns:p14="http://schemas.microsoft.com/office/powerpoint/2010/main" val="27361486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E96571-D3DE-D14E-B84F-2B505EEB25D7}"/>
              </a:ext>
            </a:extLst>
          </p:cNvPr>
          <p:cNvSpPr/>
          <p:nvPr userDrawn="1"/>
        </p:nvSpPr>
        <p:spPr>
          <a:xfrm>
            <a:off x="0" y="-3"/>
            <a:ext cx="12192000" cy="68580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4C1B3CE5-5669-E845-98B1-856DE736BC17}"/>
              </a:ext>
            </a:extLst>
          </p:cNvPr>
          <p:cNvSpPr>
            <a:spLocks noGrp="1"/>
          </p:cNvSpPr>
          <p:nvPr>
            <p:ph type="body" sz="quarter" idx="10" hasCustomPrompt="1"/>
          </p:nvPr>
        </p:nvSpPr>
        <p:spPr>
          <a:xfrm>
            <a:off x="457200" y="2007097"/>
            <a:ext cx="6562165" cy="2928460"/>
          </a:xfrm>
        </p:spPr>
        <p:txBody>
          <a:bodyPr rIns="0" anchor="ctr"/>
          <a:lstStyle>
            <a:lvl1pPr algn="l">
              <a:lnSpc>
                <a:spcPct val="80000"/>
              </a:lnSpc>
              <a:defRPr kumimoji="0" lang="en-US" sz="5600" b="1" i="0" u="none" strike="noStrike" kern="1200" cap="none" spc="0" normalizeH="0" baseline="0" dirty="0">
                <a:ln>
                  <a:noFill/>
                </a:ln>
                <a:solidFill>
                  <a:schemeClr val="bg1"/>
                </a:solidFill>
                <a:effectLst/>
                <a:uLnTx/>
                <a:uFillTx/>
                <a:latin typeface="Arial" panose="020B0604020202020204"/>
                <a:ea typeface="+mj-ea"/>
                <a:cs typeface="Arial" panose="020B0604020202020204" pitchFamily="34" charset="0"/>
              </a:defRPr>
            </a:lvl1pPr>
          </a:lstStyle>
          <a:p>
            <a:pPr lvl="0"/>
            <a:r>
              <a:rPr lang="en-US"/>
              <a:t>Two, Three or Four Line Presentation Title Goes Here</a:t>
            </a:r>
          </a:p>
        </p:txBody>
      </p:sp>
      <p:sp>
        <p:nvSpPr>
          <p:cNvPr id="8" name="Rectangle 7">
            <a:extLst>
              <a:ext uri="{FF2B5EF4-FFF2-40B4-BE49-F238E27FC236}">
                <a16:creationId xmlns:a16="http://schemas.microsoft.com/office/drawing/2014/main" id="{E90010D0-036D-4D46-A374-ECF8FB1C8835}"/>
              </a:ext>
            </a:extLst>
          </p:cNvPr>
          <p:cNvSpPr/>
          <p:nvPr userDrawn="1"/>
        </p:nvSpPr>
        <p:spPr>
          <a:xfrm>
            <a:off x="0" y="-1"/>
            <a:ext cx="12198724" cy="32004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a:extLst>
              <a:ext uri="{FF2B5EF4-FFF2-40B4-BE49-F238E27FC236}">
                <a16:creationId xmlns:a16="http://schemas.microsoft.com/office/drawing/2014/main" id="{F426F687-4D43-2B42-B654-E33D8F171D1E}"/>
              </a:ext>
            </a:extLst>
          </p:cNvPr>
          <p:cNvSpPr>
            <a:spLocks noGrp="1"/>
          </p:cNvSpPr>
          <p:nvPr>
            <p:ph type="body" sz="quarter" idx="11" hasCustomPrompt="1"/>
          </p:nvPr>
        </p:nvSpPr>
        <p:spPr>
          <a:xfrm>
            <a:off x="457199" y="652584"/>
            <a:ext cx="6562165" cy="184944"/>
          </a:xfrm>
        </p:spPr>
        <p:txBody>
          <a:bodyPr rIns="0" anchor="b"/>
          <a:lstStyle>
            <a:lvl1pPr algn="l">
              <a:defRPr lang="en-US" sz="1200" b="1" kern="1200" baseline="0" dirty="0" smtClean="0">
                <a:solidFill>
                  <a:schemeClr val="accent2"/>
                </a:solidFill>
                <a:latin typeface="Arial" panose="020B0604020202020204" pitchFamily="34" charset="0"/>
                <a:ea typeface="+mn-ea"/>
                <a:cs typeface="Arial" panose="020B0604020202020204" pitchFamily="34" charset="0"/>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Subtitle Goes Here</a:t>
            </a:r>
          </a:p>
        </p:txBody>
      </p:sp>
      <p:sp>
        <p:nvSpPr>
          <p:cNvPr id="10" name="Text Placeholder 2">
            <a:extLst>
              <a:ext uri="{FF2B5EF4-FFF2-40B4-BE49-F238E27FC236}">
                <a16:creationId xmlns:a16="http://schemas.microsoft.com/office/drawing/2014/main" id="{2B8B6607-457B-A646-8709-760C62A3BC68}"/>
              </a:ext>
            </a:extLst>
          </p:cNvPr>
          <p:cNvSpPr>
            <a:spLocks noGrp="1"/>
          </p:cNvSpPr>
          <p:nvPr>
            <p:ph type="body" sz="quarter" idx="12" hasCustomPrompt="1"/>
          </p:nvPr>
        </p:nvSpPr>
        <p:spPr>
          <a:xfrm>
            <a:off x="457200" y="830815"/>
            <a:ext cx="6562163" cy="184944"/>
          </a:xfrm>
        </p:spPr>
        <p:txBody>
          <a:bodyPr rIns="0" anchor="b"/>
          <a:lstStyle>
            <a:lvl1pPr algn="l">
              <a:defRPr lang="en-US" sz="1200" b="0" kern="1200" baseline="0" dirty="0">
                <a:solidFill>
                  <a:schemeClr val="accent2"/>
                </a:solidFill>
                <a:latin typeface="+mn-lt"/>
                <a:ea typeface="+mn-ea"/>
                <a:cs typeface="+mn-cs"/>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00.00.0000</a:t>
            </a:r>
          </a:p>
        </p:txBody>
      </p:sp>
      <p:pic>
        <p:nvPicPr>
          <p:cNvPr id="18" name="Graphic 17">
            <a:extLst>
              <a:ext uri="{FF2B5EF4-FFF2-40B4-BE49-F238E27FC236}">
                <a16:creationId xmlns:a16="http://schemas.microsoft.com/office/drawing/2014/main" id="{F93A86E1-099B-C945-9A97-F2452A9721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042624"/>
            <a:ext cx="1639229" cy="302169"/>
          </a:xfrm>
          <a:prstGeom prst="rect">
            <a:avLst/>
          </a:prstGeom>
        </p:spPr>
      </p:pic>
    </p:spTree>
    <p:extLst>
      <p:ext uri="{BB962C8B-B14F-4D97-AF65-F5344CB8AC3E}">
        <p14:creationId xmlns:p14="http://schemas.microsoft.com/office/powerpoint/2010/main" val="37385798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6">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E281CD-A54D-3442-B2F6-DCC90535935E}"/>
              </a:ext>
            </a:extLst>
          </p:cNvPr>
          <p:cNvSpPr>
            <a:spLocks noGrp="1"/>
          </p:cNvSpPr>
          <p:nvPr>
            <p:ph type="body" sz="quarter" idx="11" hasCustomPrompt="1"/>
          </p:nvPr>
        </p:nvSpPr>
        <p:spPr>
          <a:xfrm>
            <a:off x="457200" y="483251"/>
            <a:ext cx="6562165" cy="184944"/>
          </a:xfrm>
        </p:spPr>
        <p:txBody>
          <a:bodyPr rIns="0" anchor="b"/>
          <a:lstStyle>
            <a:lvl1pPr algn="l">
              <a:defRPr lang="en-US" sz="1200" b="1" kern="1200" baseline="0" dirty="0" smtClean="0">
                <a:solidFill>
                  <a:schemeClr val="accent2"/>
                </a:solidFill>
                <a:latin typeface="Arial" panose="020B0604020202020204" pitchFamily="34" charset="0"/>
                <a:ea typeface="+mn-ea"/>
                <a:cs typeface="Arial" panose="020B0604020202020204" pitchFamily="34" charset="0"/>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Subtitle Goes Here</a:t>
            </a:r>
          </a:p>
        </p:txBody>
      </p:sp>
      <p:sp>
        <p:nvSpPr>
          <p:cNvPr id="13" name="Text Placeholder 2">
            <a:extLst>
              <a:ext uri="{FF2B5EF4-FFF2-40B4-BE49-F238E27FC236}">
                <a16:creationId xmlns:a16="http://schemas.microsoft.com/office/drawing/2014/main" id="{F444DE9C-F571-BB4C-9C1C-7332F4140BF6}"/>
              </a:ext>
            </a:extLst>
          </p:cNvPr>
          <p:cNvSpPr>
            <a:spLocks noGrp="1"/>
          </p:cNvSpPr>
          <p:nvPr>
            <p:ph type="body" sz="quarter" idx="12" hasCustomPrompt="1"/>
          </p:nvPr>
        </p:nvSpPr>
        <p:spPr>
          <a:xfrm>
            <a:off x="457201" y="661482"/>
            <a:ext cx="6562164" cy="184944"/>
          </a:xfrm>
        </p:spPr>
        <p:txBody>
          <a:bodyPr rIns="0" anchor="b"/>
          <a:lstStyle>
            <a:lvl1pPr algn="l">
              <a:defRPr lang="en-US" sz="1200" b="0" kern="1200" baseline="0" dirty="0">
                <a:solidFill>
                  <a:schemeClr val="accent2"/>
                </a:solidFill>
                <a:latin typeface="+mn-lt"/>
                <a:ea typeface="+mn-ea"/>
                <a:cs typeface="+mn-cs"/>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00.00.0000</a:t>
            </a:r>
          </a:p>
        </p:txBody>
      </p:sp>
      <p:sp>
        <p:nvSpPr>
          <p:cNvPr id="4" name="Text Placeholder 3">
            <a:extLst>
              <a:ext uri="{FF2B5EF4-FFF2-40B4-BE49-F238E27FC236}">
                <a16:creationId xmlns:a16="http://schemas.microsoft.com/office/drawing/2014/main" id="{4C1B3CE5-5669-E845-98B1-856DE736BC17}"/>
              </a:ext>
            </a:extLst>
          </p:cNvPr>
          <p:cNvSpPr>
            <a:spLocks noGrp="1"/>
          </p:cNvSpPr>
          <p:nvPr>
            <p:ph type="body" sz="quarter" idx="10" hasCustomPrompt="1"/>
          </p:nvPr>
        </p:nvSpPr>
        <p:spPr>
          <a:xfrm>
            <a:off x="457200" y="2007097"/>
            <a:ext cx="6562165" cy="2928460"/>
          </a:xfrm>
        </p:spPr>
        <p:txBody>
          <a:bodyPr rIns="0" anchor="ctr"/>
          <a:lstStyle>
            <a:lvl1pPr algn="l">
              <a:lnSpc>
                <a:spcPct val="80000"/>
              </a:lnSpc>
              <a:defRPr kumimoji="0" lang="en-US" sz="5600" b="1" i="0" u="none" strike="noStrike" kern="1200" cap="none" spc="0" normalizeH="0" baseline="0" dirty="0">
                <a:ln>
                  <a:noFill/>
                </a:ln>
                <a:solidFill>
                  <a:schemeClr val="tx1"/>
                </a:solidFill>
                <a:effectLst/>
                <a:uLnTx/>
                <a:uFillTx/>
                <a:latin typeface="Arial" panose="020B0604020202020204"/>
                <a:ea typeface="+mj-ea"/>
                <a:cs typeface="Arial" panose="020B0604020202020204" pitchFamily="34" charset="0"/>
              </a:defRPr>
            </a:lvl1pPr>
          </a:lstStyle>
          <a:p>
            <a:pPr lvl="0"/>
            <a:r>
              <a:rPr lang="en-US"/>
              <a:t>Two, Three or Four Line Presentation Title Goes Here</a:t>
            </a:r>
          </a:p>
        </p:txBody>
      </p:sp>
      <p:sp>
        <p:nvSpPr>
          <p:cNvPr id="11" name="Rectangle 10">
            <a:extLst>
              <a:ext uri="{FF2B5EF4-FFF2-40B4-BE49-F238E27FC236}">
                <a16:creationId xmlns:a16="http://schemas.microsoft.com/office/drawing/2014/main" id="{FD3EBE4A-1B67-564B-AB9C-CB14A996DDC3}"/>
              </a:ext>
            </a:extLst>
          </p:cNvPr>
          <p:cNvSpPr/>
          <p:nvPr userDrawn="1"/>
        </p:nvSpPr>
        <p:spPr>
          <a:xfrm rot="10800000">
            <a:off x="11506200" y="-3"/>
            <a:ext cx="685800" cy="6858002"/>
          </a:xfrm>
          <a:prstGeom prst="rect">
            <a:avLst/>
          </a:prstGeom>
          <a:gradFill>
            <a:gsLst>
              <a:gs pos="0">
                <a:srgbClr val="D1A33C"/>
              </a:gs>
              <a:gs pos="100000">
                <a:srgbClr val="F2D71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phic 19">
            <a:extLst>
              <a:ext uri="{FF2B5EF4-FFF2-40B4-BE49-F238E27FC236}">
                <a16:creationId xmlns:a16="http://schemas.microsoft.com/office/drawing/2014/main" id="{C08C37A1-EB6E-4848-A9AC-25C27ECC91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043161"/>
            <a:ext cx="1639228" cy="302169"/>
          </a:xfrm>
          <a:prstGeom prst="rect">
            <a:avLst/>
          </a:prstGeom>
        </p:spPr>
      </p:pic>
    </p:spTree>
    <p:extLst>
      <p:ext uri="{BB962C8B-B14F-4D97-AF65-F5344CB8AC3E}">
        <p14:creationId xmlns:p14="http://schemas.microsoft.com/office/powerpoint/2010/main" val="41948269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7">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C1B3CE5-5669-E845-98B1-856DE736BC17}"/>
              </a:ext>
            </a:extLst>
          </p:cNvPr>
          <p:cNvSpPr>
            <a:spLocks noGrp="1"/>
          </p:cNvSpPr>
          <p:nvPr>
            <p:ph type="body" sz="quarter" idx="10" hasCustomPrompt="1"/>
          </p:nvPr>
        </p:nvSpPr>
        <p:spPr>
          <a:xfrm>
            <a:off x="457200" y="2007097"/>
            <a:ext cx="6562165" cy="2928460"/>
          </a:xfrm>
        </p:spPr>
        <p:txBody>
          <a:bodyPr rIns="0" anchor="ctr"/>
          <a:lstStyle>
            <a:lvl1pPr algn="l">
              <a:lnSpc>
                <a:spcPct val="80000"/>
              </a:lnSpc>
              <a:defRPr kumimoji="0" lang="en-US" sz="5600" b="1" i="0" u="none" strike="noStrike" kern="1200" cap="none" spc="0" normalizeH="0" baseline="0" dirty="0">
                <a:ln>
                  <a:noFill/>
                </a:ln>
                <a:solidFill>
                  <a:schemeClr val="tx1"/>
                </a:solidFill>
                <a:effectLst/>
                <a:uLnTx/>
                <a:uFillTx/>
                <a:latin typeface="Arial" panose="020B0604020202020204"/>
                <a:ea typeface="+mj-ea"/>
                <a:cs typeface="Arial" panose="020B0604020202020204" pitchFamily="34" charset="0"/>
              </a:defRPr>
            </a:lvl1pPr>
          </a:lstStyle>
          <a:p>
            <a:pPr lvl="0"/>
            <a:r>
              <a:rPr lang="en-US"/>
              <a:t>Two, Three or Four Line Presentation Title Goes Here</a:t>
            </a:r>
          </a:p>
        </p:txBody>
      </p:sp>
      <p:sp>
        <p:nvSpPr>
          <p:cNvPr id="8" name="Rectangle 7">
            <a:extLst>
              <a:ext uri="{FF2B5EF4-FFF2-40B4-BE49-F238E27FC236}">
                <a16:creationId xmlns:a16="http://schemas.microsoft.com/office/drawing/2014/main" id="{E90010D0-036D-4D46-A374-ECF8FB1C8835}"/>
              </a:ext>
            </a:extLst>
          </p:cNvPr>
          <p:cNvSpPr/>
          <p:nvPr userDrawn="1"/>
        </p:nvSpPr>
        <p:spPr>
          <a:xfrm>
            <a:off x="0" y="-1"/>
            <a:ext cx="12198724" cy="320040"/>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a:extLst>
              <a:ext uri="{FF2B5EF4-FFF2-40B4-BE49-F238E27FC236}">
                <a16:creationId xmlns:a16="http://schemas.microsoft.com/office/drawing/2014/main" id="{F426F687-4D43-2B42-B654-E33D8F171D1E}"/>
              </a:ext>
            </a:extLst>
          </p:cNvPr>
          <p:cNvSpPr>
            <a:spLocks noGrp="1"/>
          </p:cNvSpPr>
          <p:nvPr>
            <p:ph type="body" sz="quarter" idx="11" hasCustomPrompt="1"/>
          </p:nvPr>
        </p:nvSpPr>
        <p:spPr>
          <a:xfrm>
            <a:off x="457200" y="652584"/>
            <a:ext cx="6562164" cy="184944"/>
          </a:xfrm>
        </p:spPr>
        <p:txBody>
          <a:bodyPr rIns="0" anchor="b"/>
          <a:lstStyle>
            <a:lvl1pPr algn="l">
              <a:defRPr lang="en-US" sz="1200" b="1" kern="1200" baseline="0" dirty="0" smtClean="0">
                <a:solidFill>
                  <a:schemeClr val="accent2"/>
                </a:solidFill>
                <a:latin typeface="Arial" panose="020B0604020202020204" pitchFamily="34" charset="0"/>
                <a:ea typeface="+mn-ea"/>
                <a:cs typeface="Arial" panose="020B0604020202020204" pitchFamily="34" charset="0"/>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Subtitle Goes Here</a:t>
            </a:r>
          </a:p>
        </p:txBody>
      </p:sp>
      <p:sp>
        <p:nvSpPr>
          <p:cNvPr id="10" name="Text Placeholder 2">
            <a:extLst>
              <a:ext uri="{FF2B5EF4-FFF2-40B4-BE49-F238E27FC236}">
                <a16:creationId xmlns:a16="http://schemas.microsoft.com/office/drawing/2014/main" id="{2B8B6607-457B-A646-8709-760C62A3BC68}"/>
              </a:ext>
            </a:extLst>
          </p:cNvPr>
          <p:cNvSpPr>
            <a:spLocks noGrp="1"/>
          </p:cNvSpPr>
          <p:nvPr>
            <p:ph type="body" sz="quarter" idx="12" hasCustomPrompt="1"/>
          </p:nvPr>
        </p:nvSpPr>
        <p:spPr>
          <a:xfrm>
            <a:off x="457201" y="830815"/>
            <a:ext cx="6562162" cy="184944"/>
          </a:xfrm>
        </p:spPr>
        <p:txBody>
          <a:bodyPr rIns="0" anchor="b"/>
          <a:lstStyle>
            <a:lvl1pPr algn="l">
              <a:defRPr lang="en-US" sz="1200" b="0" kern="1200" baseline="0" dirty="0">
                <a:solidFill>
                  <a:schemeClr val="accent2"/>
                </a:solidFill>
                <a:latin typeface="+mn-lt"/>
                <a:ea typeface="+mn-ea"/>
                <a:cs typeface="+mn-cs"/>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00.00.0000</a:t>
            </a:r>
          </a:p>
        </p:txBody>
      </p:sp>
      <p:pic>
        <p:nvPicPr>
          <p:cNvPr id="16" name="Graphic 15">
            <a:extLst>
              <a:ext uri="{FF2B5EF4-FFF2-40B4-BE49-F238E27FC236}">
                <a16:creationId xmlns:a16="http://schemas.microsoft.com/office/drawing/2014/main" id="{4533769E-BCC3-D44B-918F-2B0B94F35E1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6043161"/>
            <a:ext cx="1639228" cy="302169"/>
          </a:xfrm>
          <a:prstGeom prst="rect">
            <a:avLst/>
          </a:prstGeom>
        </p:spPr>
      </p:pic>
    </p:spTree>
    <p:extLst>
      <p:ext uri="{BB962C8B-B14F-4D97-AF65-F5344CB8AC3E}">
        <p14:creationId xmlns:p14="http://schemas.microsoft.com/office/powerpoint/2010/main" val="7860156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Photo 1">
    <p:spTree>
      <p:nvGrpSpPr>
        <p:cNvPr id="1" name=""/>
        <p:cNvGrpSpPr/>
        <p:nvPr/>
      </p:nvGrpSpPr>
      <p:grpSpPr>
        <a:xfrm>
          <a:off x="0" y="0"/>
          <a:ext cx="0" cy="0"/>
          <a:chOff x="0" y="0"/>
          <a:chExt cx="0" cy="0"/>
        </a:xfrm>
      </p:grpSpPr>
      <p:pic>
        <p:nvPicPr>
          <p:cNvPr id="56" name="Graphic 55">
            <a:extLst>
              <a:ext uri="{FF2B5EF4-FFF2-40B4-BE49-F238E27FC236}">
                <a16:creationId xmlns:a16="http://schemas.microsoft.com/office/drawing/2014/main" id="{1C622189-E9B4-7E4D-92BD-3C997E98C7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199" y="5805378"/>
            <a:ext cx="2926265" cy="539416"/>
          </a:xfrm>
          <a:prstGeom prst="rect">
            <a:avLst/>
          </a:prstGeom>
        </p:spPr>
      </p:pic>
      <p:sp>
        <p:nvSpPr>
          <p:cNvPr id="110" name="Picture Placeholder 109">
            <a:extLst>
              <a:ext uri="{FF2B5EF4-FFF2-40B4-BE49-F238E27FC236}">
                <a16:creationId xmlns:a16="http://schemas.microsoft.com/office/drawing/2014/main" id="{3C2E1B8E-BB10-9548-ADFF-E2511480131C}"/>
              </a:ext>
            </a:extLst>
          </p:cNvPr>
          <p:cNvSpPr>
            <a:spLocks noGrp="1"/>
          </p:cNvSpPr>
          <p:nvPr>
            <p:ph type="pic" sz="quarter" idx="13" hasCustomPrompt="1"/>
          </p:nvPr>
        </p:nvSpPr>
        <p:spPr>
          <a:xfrm>
            <a:off x="0" y="0"/>
            <a:ext cx="11496675" cy="6858000"/>
          </a:xfrm>
          <a:custGeom>
            <a:avLst/>
            <a:gdLst>
              <a:gd name="connsiteX0" fmla="*/ 460301 w 11496675"/>
              <a:gd name="connsiteY0" fmla="*/ 6126917 h 6858000"/>
              <a:gd name="connsiteX1" fmla="*/ 685389 w 11496675"/>
              <a:gd name="connsiteY1" fmla="*/ 6344795 h 6858000"/>
              <a:gd name="connsiteX2" fmla="*/ 512080 w 11496675"/>
              <a:gd name="connsiteY2" fmla="*/ 6140507 h 6858000"/>
              <a:gd name="connsiteX3" fmla="*/ 460301 w 11496675"/>
              <a:gd name="connsiteY3" fmla="*/ 6126917 h 6858000"/>
              <a:gd name="connsiteX4" fmla="*/ 2464041 w 11496675"/>
              <a:gd name="connsiteY4" fmla="*/ 6098900 h 6858000"/>
              <a:gd name="connsiteX5" fmla="*/ 2557192 w 11496675"/>
              <a:gd name="connsiteY5" fmla="*/ 6098900 h 6858000"/>
              <a:gd name="connsiteX6" fmla="*/ 2581846 w 11496675"/>
              <a:gd name="connsiteY6" fmla="*/ 6101242 h 6858000"/>
              <a:gd name="connsiteX7" fmla="*/ 2632496 w 11496675"/>
              <a:gd name="connsiteY7" fmla="*/ 6162417 h 6858000"/>
              <a:gd name="connsiteX8" fmla="*/ 2581260 w 11496675"/>
              <a:gd name="connsiteY8" fmla="*/ 6223468 h 6858000"/>
              <a:gd name="connsiteX9" fmla="*/ 2581302 w 11496675"/>
              <a:gd name="connsiteY9" fmla="*/ 6223468 h 6858000"/>
              <a:gd name="connsiteX10" fmla="*/ 2550677 w 11496675"/>
              <a:gd name="connsiteY10" fmla="*/ 6226123 h 6858000"/>
              <a:gd name="connsiteX11" fmla="*/ 2464041 w 11496675"/>
              <a:gd name="connsiteY11" fmla="*/ 6226123 h 6858000"/>
              <a:gd name="connsiteX12" fmla="*/ 1636491 w 11496675"/>
              <a:gd name="connsiteY12" fmla="*/ 6095743 h 6858000"/>
              <a:gd name="connsiteX13" fmla="*/ 1770405 w 11496675"/>
              <a:gd name="connsiteY13" fmla="*/ 6165198 h 6858000"/>
              <a:gd name="connsiteX14" fmla="*/ 1695017 w 11496675"/>
              <a:gd name="connsiteY14" fmla="*/ 6226060 h 6858000"/>
              <a:gd name="connsiteX15" fmla="*/ 1695017 w 11496675"/>
              <a:gd name="connsiteY15" fmla="*/ 6225997 h 6858000"/>
              <a:gd name="connsiteX16" fmla="*/ 1601928 w 11496675"/>
              <a:gd name="connsiteY16" fmla="*/ 6225997 h 6858000"/>
              <a:gd name="connsiteX17" fmla="*/ 1601928 w 11496675"/>
              <a:gd name="connsiteY17" fmla="*/ 6096370 h 6858000"/>
              <a:gd name="connsiteX18" fmla="*/ 1636491 w 11496675"/>
              <a:gd name="connsiteY18" fmla="*/ 6095743 h 6858000"/>
              <a:gd name="connsiteX19" fmla="*/ 2900995 w 11496675"/>
              <a:gd name="connsiteY19" fmla="*/ 6034860 h 6858000"/>
              <a:gd name="connsiteX20" fmla="*/ 2990605 w 11496675"/>
              <a:gd name="connsiteY20" fmla="*/ 6111361 h 6858000"/>
              <a:gd name="connsiteX21" fmla="*/ 2812536 w 11496675"/>
              <a:gd name="connsiteY21" fmla="*/ 6111361 h 6858000"/>
              <a:gd name="connsiteX22" fmla="*/ 2900995 w 11496675"/>
              <a:gd name="connsiteY22" fmla="*/ 6034860 h 6858000"/>
              <a:gd name="connsiteX23" fmla="*/ 3058976 w 11496675"/>
              <a:gd name="connsiteY23" fmla="*/ 5976235 h 6858000"/>
              <a:gd name="connsiteX24" fmla="*/ 3186585 w 11496675"/>
              <a:gd name="connsiteY24" fmla="*/ 6296937 h 6858000"/>
              <a:gd name="connsiteX25" fmla="*/ 3256107 w 11496675"/>
              <a:gd name="connsiteY25" fmla="*/ 6296937 h 6858000"/>
              <a:gd name="connsiteX26" fmla="*/ 3383465 w 11496675"/>
              <a:gd name="connsiteY26" fmla="*/ 5976235 h 6858000"/>
              <a:gd name="connsiteX27" fmla="*/ 3302652 w 11496675"/>
              <a:gd name="connsiteY27" fmla="*/ 5976235 h 6858000"/>
              <a:gd name="connsiteX28" fmla="*/ 3222216 w 11496675"/>
              <a:gd name="connsiteY28" fmla="*/ 6205340 h 6858000"/>
              <a:gd name="connsiteX29" fmla="*/ 3140585 w 11496675"/>
              <a:gd name="connsiteY29" fmla="*/ 5976235 h 6858000"/>
              <a:gd name="connsiteX30" fmla="*/ 2900303 w 11496675"/>
              <a:gd name="connsiteY30" fmla="*/ 5969377 h 6858000"/>
              <a:gd name="connsiteX31" fmla="*/ 2737776 w 11496675"/>
              <a:gd name="connsiteY31" fmla="*/ 6138833 h 6858000"/>
              <a:gd name="connsiteX32" fmla="*/ 2903508 w 11496675"/>
              <a:gd name="connsiteY32" fmla="*/ 6303794 h 6858000"/>
              <a:gd name="connsiteX33" fmla="*/ 3055289 w 11496675"/>
              <a:gd name="connsiteY33" fmla="*/ 6198545 h 6858000"/>
              <a:gd name="connsiteX34" fmla="*/ 2978687 w 11496675"/>
              <a:gd name="connsiteY34" fmla="*/ 6198545 h 6858000"/>
              <a:gd name="connsiteX35" fmla="*/ 2904786 w 11496675"/>
              <a:gd name="connsiteY35" fmla="*/ 6238270 h 6858000"/>
              <a:gd name="connsiteX36" fmla="*/ 2812305 w 11496675"/>
              <a:gd name="connsiteY36" fmla="*/ 6163880 h 6858000"/>
              <a:gd name="connsiteX37" fmla="*/ 3063061 w 11496675"/>
              <a:gd name="connsiteY37" fmla="*/ 6163880 h 6858000"/>
              <a:gd name="connsiteX38" fmla="*/ 3065344 w 11496675"/>
              <a:gd name="connsiteY38" fmla="*/ 6133418 h 6858000"/>
              <a:gd name="connsiteX39" fmla="*/ 2900303 w 11496675"/>
              <a:gd name="connsiteY39" fmla="*/ 5969377 h 6858000"/>
              <a:gd name="connsiteX40" fmla="*/ 2207839 w 11496675"/>
              <a:gd name="connsiteY40" fmla="*/ 5969377 h 6858000"/>
              <a:gd name="connsiteX41" fmla="*/ 2107587 w 11496675"/>
              <a:gd name="connsiteY41" fmla="*/ 6023172 h 6858000"/>
              <a:gd name="connsiteX42" fmla="*/ 2107587 w 11496675"/>
              <a:gd name="connsiteY42" fmla="*/ 5976235 h 6858000"/>
              <a:gd name="connsiteX43" fmla="*/ 2037122 w 11496675"/>
              <a:gd name="connsiteY43" fmla="*/ 5976235 h 6858000"/>
              <a:gd name="connsiteX44" fmla="*/ 2037122 w 11496675"/>
              <a:gd name="connsiteY44" fmla="*/ 6296936 h 6858000"/>
              <a:gd name="connsiteX45" fmla="*/ 2112531 w 11496675"/>
              <a:gd name="connsiteY45" fmla="*/ 6296936 h 6858000"/>
              <a:gd name="connsiteX46" fmla="*/ 2112531 w 11496675"/>
              <a:gd name="connsiteY46" fmla="*/ 6127062 h 6858000"/>
              <a:gd name="connsiteX47" fmla="*/ 2116071 w 11496675"/>
              <a:gd name="connsiteY47" fmla="*/ 6091749 h 6858000"/>
              <a:gd name="connsiteX48" fmla="*/ 2185782 w 11496675"/>
              <a:gd name="connsiteY48" fmla="*/ 6037076 h 6858000"/>
              <a:gd name="connsiteX49" fmla="*/ 2251933 w 11496675"/>
              <a:gd name="connsiteY49" fmla="*/ 6093338 h 6858000"/>
              <a:gd name="connsiteX50" fmla="*/ 2254404 w 11496675"/>
              <a:gd name="connsiteY50" fmla="*/ 6126999 h 6858000"/>
              <a:gd name="connsiteX51" fmla="*/ 2254404 w 11496675"/>
              <a:gd name="connsiteY51" fmla="*/ 6296936 h 6858000"/>
              <a:gd name="connsiteX52" fmla="*/ 2329813 w 11496675"/>
              <a:gd name="connsiteY52" fmla="*/ 6296936 h 6858000"/>
              <a:gd name="connsiteX53" fmla="*/ 2329813 w 11496675"/>
              <a:gd name="connsiteY53" fmla="*/ 6107158 h 6858000"/>
              <a:gd name="connsiteX54" fmla="*/ 2322691 w 11496675"/>
              <a:gd name="connsiteY54" fmla="*/ 6050185 h 6858000"/>
              <a:gd name="connsiteX55" fmla="*/ 2207839 w 11496675"/>
              <a:gd name="connsiteY55" fmla="*/ 5969377 h 6858000"/>
              <a:gd name="connsiteX56" fmla="*/ 1283347 w 11496675"/>
              <a:gd name="connsiteY56" fmla="*/ 5934943 h 6858000"/>
              <a:gd name="connsiteX57" fmla="*/ 1341768 w 11496675"/>
              <a:gd name="connsiteY57" fmla="*/ 6090516 h 6858000"/>
              <a:gd name="connsiteX58" fmla="*/ 1182801 w 11496675"/>
              <a:gd name="connsiteY58" fmla="*/ 6194448 h 6858000"/>
              <a:gd name="connsiteX59" fmla="*/ 1182801 w 11496675"/>
              <a:gd name="connsiteY59" fmla="*/ 6194406 h 6858000"/>
              <a:gd name="connsiteX60" fmla="*/ 2463999 w 11496675"/>
              <a:gd name="connsiteY60" fmla="*/ 5916565 h 6858000"/>
              <a:gd name="connsiteX61" fmla="*/ 2533459 w 11496675"/>
              <a:gd name="connsiteY61" fmla="*/ 5916565 h 6858000"/>
              <a:gd name="connsiteX62" fmla="*/ 2576945 w 11496675"/>
              <a:gd name="connsiteY62" fmla="*/ 5923715 h 6858000"/>
              <a:gd name="connsiteX63" fmla="*/ 2605957 w 11496675"/>
              <a:gd name="connsiteY63" fmla="*/ 5972932 h 6858000"/>
              <a:gd name="connsiteX64" fmla="*/ 2575918 w 11496675"/>
              <a:gd name="connsiteY64" fmla="*/ 6022755 h 6858000"/>
              <a:gd name="connsiteX65" fmla="*/ 2536119 w 11496675"/>
              <a:gd name="connsiteY65" fmla="*/ 6029341 h 6858000"/>
              <a:gd name="connsiteX66" fmla="*/ 2464041 w 11496675"/>
              <a:gd name="connsiteY66" fmla="*/ 6029341 h 6858000"/>
              <a:gd name="connsiteX67" fmla="*/ 1601928 w 11496675"/>
              <a:gd name="connsiteY67" fmla="*/ 5916565 h 6858000"/>
              <a:gd name="connsiteX68" fmla="*/ 1668309 w 11496675"/>
              <a:gd name="connsiteY68" fmla="*/ 5916565 h 6858000"/>
              <a:gd name="connsiteX69" fmla="*/ 1704904 w 11496675"/>
              <a:gd name="connsiteY69" fmla="*/ 5921123 h 6858000"/>
              <a:gd name="connsiteX70" fmla="*/ 1743886 w 11496675"/>
              <a:gd name="connsiteY70" fmla="*/ 5978870 h 6858000"/>
              <a:gd name="connsiteX71" fmla="*/ 1706935 w 11496675"/>
              <a:gd name="connsiteY71" fmla="*/ 6034337 h 6858000"/>
              <a:gd name="connsiteX72" fmla="*/ 1634354 w 11496675"/>
              <a:gd name="connsiteY72" fmla="*/ 6028651 h 6858000"/>
              <a:gd name="connsiteX73" fmla="*/ 1601928 w 11496675"/>
              <a:gd name="connsiteY73" fmla="*/ 6029152 h 6858000"/>
              <a:gd name="connsiteX74" fmla="*/ 905952 w 11496675"/>
              <a:gd name="connsiteY74" fmla="*/ 5873642 h 6858000"/>
              <a:gd name="connsiteX75" fmla="*/ 727281 w 11496675"/>
              <a:gd name="connsiteY75" fmla="*/ 6139754 h 6858000"/>
              <a:gd name="connsiteX76" fmla="*/ 789868 w 11496675"/>
              <a:gd name="connsiteY76" fmla="*/ 6340697 h 6858000"/>
              <a:gd name="connsiteX77" fmla="*/ 990857 w 11496675"/>
              <a:gd name="connsiteY77" fmla="*/ 6014314 h 6858000"/>
              <a:gd name="connsiteX78" fmla="*/ 905952 w 11496675"/>
              <a:gd name="connsiteY78" fmla="*/ 5873642 h 6858000"/>
              <a:gd name="connsiteX79" fmla="*/ 2386663 w 11496675"/>
              <a:gd name="connsiteY79" fmla="*/ 5845751 h 6858000"/>
              <a:gd name="connsiteX80" fmla="*/ 2386663 w 11496675"/>
              <a:gd name="connsiteY80" fmla="*/ 6296937 h 6858000"/>
              <a:gd name="connsiteX81" fmla="*/ 2546698 w 11496675"/>
              <a:gd name="connsiteY81" fmla="*/ 6296937 h 6858000"/>
              <a:gd name="connsiteX82" fmla="*/ 2619279 w 11496675"/>
              <a:gd name="connsiteY82" fmla="*/ 6286755 h 6858000"/>
              <a:gd name="connsiteX83" fmla="*/ 2709874 w 11496675"/>
              <a:gd name="connsiteY83" fmla="*/ 6165324 h 6858000"/>
              <a:gd name="connsiteX84" fmla="*/ 2639953 w 11496675"/>
              <a:gd name="connsiteY84" fmla="*/ 6055789 h 6858000"/>
              <a:gd name="connsiteX85" fmla="*/ 2683397 w 11496675"/>
              <a:gd name="connsiteY85" fmla="*/ 5967057 h 6858000"/>
              <a:gd name="connsiteX86" fmla="*/ 2593325 w 11496675"/>
              <a:gd name="connsiteY86" fmla="*/ 5851772 h 6858000"/>
              <a:gd name="connsiteX87" fmla="*/ 2529563 w 11496675"/>
              <a:gd name="connsiteY87" fmla="*/ 5845751 h 6858000"/>
              <a:gd name="connsiteX88" fmla="*/ 1893510 w 11496675"/>
              <a:gd name="connsiteY88" fmla="*/ 5845751 h 6858000"/>
              <a:gd name="connsiteX89" fmla="*/ 1893510 w 11496675"/>
              <a:gd name="connsiteY89" fmla="*/ 6296937 h 6858000"/>
              <a:gd name="connsiteX90" fmla="*/ 1971726 w 11496675"/>
              <a:gd name="connsiteY90" fmla="*/ 6296937 h 6858000"/>
              <a:gd name="connsiteX91" fmla="*/ 1971726 w 11496675"/>
              <a:gd name="connsiteY91" fmla="*/ 5845751 h 6858000"/>
              <a:gd name="connsiteX92" fmla="*/ 1248261 w 11496675"/>
              <a:gd name="connsiteY92" fmla="*/ 5845730 h 6858000"/>
              <a:gd name="connsiteX93" fmla="*/ 1063781 w 11496675"/>
              <a:gd name="connsiteY93" fmla="*/ 6296937 h 6858000"/>
              <a:gd name="connsiteX94" fmla="*/ 1139043 w 11496675"/>
              <a:gd name="connsiteY94" fmla="*/ 6296937 h 6858000"/>
              <a:gd name="connsiteX95" fmla="*/ 1362610 w 11496675"/>
              <a:gd name="connsiteY95" fmla="*/ 6146402 h 6858000"/>
              <a:gd name="connsiteX96" fmla="*/ 1419167 w 11496675"/>
              <a:gd name="connsiteY96" fmla="*/ 6296937 h 6858000"/>
              <a:gd name="connsiteX97" fmla="*/ 1504525 w 11496675"/>
              <a:gd name="connsiteY97" fmla="*/ 6296937 h 6858000"/>
              <a:gd name="connsiteX98" fmla="*/ 1433075 w 11496675"/>
              <a:gd name="connsiteY98" fmla="*/ 6122128 h 6858000"/>
              <a:gd name="connsiteX99" fmla="*/ 1524530 w 11496675"/>
              <a:gd name="connsiteY99" fmla="*/ 6102580 h 6858000"/>
              <a:gd name="connsiteX100" fmla="*/ 1524530 w 11496675"/>
              <a:gd name="connsiteY100" fmla="*/ 6296874 h 6858000"/>
              <a:gd name="connsiteX101" fmla="*/ 1563365 w 11496675"/>
              <a:gd name="connsiteY101" fmla="*/ 6296874 h 6858000"/>
              <a:gd name="connsiteX102" fmla="*/ 1699772 w 11496675"/>
              <a:gd name="connsiteY102" fmla="*/ 6296874 h 6858000"/>
              <a:gd name="connsiteX103" fmla="*/ 1847866 w 11496675"/>
              <a:gd name="connsiteY103" fmla="*/ 6165156 h 6858000"/>
              <a:gd name="connsiteX104" fmla="*/ 1777150 w 11496675"/>
              <a:gd name="connsiteY104" fmla="*/ 6056416 h 6858000"/>
              <a:gd name="connsiteX105" fmla="*/ 1821264 w 11496675"/>
              <a:gd name="connsiteY105" fmla="*/ 5967057 h 6858000"/>
              <a:gd name="connsiteX106" fmla="*/ 1731192 w 11496675"/>
              <a:gd name="connsiteY106" fmla="*/ 5851772 h 6858000"/>
              <a:gd name="connsiteX107" fmla="*/ 1667430 w 11496675"/>
              <a:gd name="connsiteY107" fmla="*/ 5845751 h 6858000"/>
              <a:gd name="connsiteX108" fmla="*/ 1524530 w 11496675"/>
              <a:gd name="connsiteY108" fmla="*/ 5845751 h 6858000"/>
              <a:gd name="connsiteX109" fmla="*/ 1524530 w 11496675"/>
              <a:gd name="connsiteY109" fmla="*/ 6036136 h 6858000"/>
              <a:gd name="connsiteX110" fmla="*/ 1409322 w 11496675"/>
              <a:gd name="connsiteY110" fmla="*/ 6063880 h 6858000"/>
              <a:gd name="connsiteX111" fmla="*/ 1320046 w 11496675"/>
              <a:gd name="connsiteY111" fmla="*/ 5845730 h 6858000"/>
              <a:gd name="connsiteX112" fmla="*/ 719325 w 11496675"/>
              <a:gd name="connsiteY112" fmla="*/ 5806530 h 6858000"/>
              <a:gd name="connsiteX113" fmla="*/ 459807 w 11496675"/>
              <a:gd name="connsiteY113" fmla="*/ 6030125 h 6858000"/>
              <a:gd name="connsiteX114" fmla="*/ 456677 w 11496675"/>
              <a:gd name="connsiteY114" fmla="*/ 6053928 h 6858000"/>
              <a:gd name="connsiteX115" fmla="*/ 521862 w 11496675"/>
              <a:gd name="connsiteY115" fmla="*/ 6055810 h 6858000"/>
              <a:gd name="connsiteX116" fmla="*/ 774117 w 11496675"/>
              <a:gd name="connsiteY116" fmla="*/ 5810606 h 6858000"/>
              <a:gd name="connsiteX117" fmla="*/ 719325 w 11496675"/>
              <a:gd name="connsiteY117" fmla="*/ 5806530 h 6858000"/>
              <a:gd name="connsiteX118" fmla="*/ 0 w 11496675"/>
              <a:gd name="connsiteY118" fmla="*/ 0 h 6858000"/>
              <a:gd name="connsiteX119" fmla="*/ 11496675 w 11496675"/>
              <a:gd name="connsiteY119" fmla="*/ 0 h 6858000"/>
              <a:gd name="connsiteX120" fmla="*/ 11496675 w 11496675"/>
              <a:gd name="connsiteY120" fmla="*/ 6858000 h 6858000"/>
              <a:gd name="connsiteX121" fmla="*/ 0 w 11496675"/>
              <a:gd name="connsiteY1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1496675" h="6858000">
                <a:moveTo>
                  <a:pt x="460301" y="6126917"/>
                </a:moveTo>
                <a:cubicBezTo>
                  <a:pt x="481391" y="6239870"/>
                  <a:pt x="571632" y="6327222"/>
                  <a:pt x="685389" y="6344795"/>
                </a:cubicBezTo>
                <a:cubicBezTo>
                  <a:pt x="682477" y="6261311"/>
                  <a:pt x="614695" y="6177220"/>
                  <a:pt x="512080" y="6140507"/>
                </a:cubicBezTo>
                <a:cubicBezTo>
                  <a:pt x="495250" y="6134479"/>
                  <a:pt x="477924" y="6129932"/>
                  <a:pt x="460301" y="6126917"/>
                </a:cubicBezTo>
                <a:close/>
                <a:moveTo>
                  <a:pt x="2464041" y="6098900"/>
                </a:moveTo>
                <a:lnTo>
                  <a:pt x="2557192" y="6098900"/>
                </a:lnTo>
                <a:cubicBezTo>
                  <a:pt x="2565466" y="6098854"/>
                  <a:pt x="2573719" y="6099640"/>
                  <a:pt x="2581846" y="6101242"/>
                </a:cubicBezTo>
                <a:cubicBezTo>
                  <a:pt x="2618462" y="6109354"/>
                  <a:pt x="2632496" y="6138186"/>
                  <a:pt x="2632496" y="6162417"/>
                </a:cubicBezTo>
                <a:cubicBezTo>
                  <a:pt x="2632496" y="6194469"/>
                  <a:pt x="2611863" y="6216213"/>
                  <a:pt x="2581260" y="6223468"/>
                </a:cubicBezTo>
                <a:lnTo>
                  <a:pt x="2581302" y="6223468"/>
                </a:lnTo>
                <a:cubicBezTo>
                  <a:pt x="2571205" y="6225333"/>
                  <a:pt x="2560941" y="6226223"/>
                  <a:pt x="2550677" y="6226123"/>
                </a:cubicBezTo>
                <a:lnTo>
                  <a:pt x="2464041" y="6226123"/>
                </a:lnTo>
                <a:close/>
                <a:moveTo>
                  <a:pt x="1636491" y="6095743"/>
                </a:moveTo>
                <a:cubicBezTo>
                  <a:pt x="1721158" y="6096830"/>
                  <a:pt x="1770405" y="6121438"/>
                  <a:pt x="1770405" y="6165198"/>
                </a:cubicBezTo>
                <a:cubicBezTo>
                  <a:pt x="1770405" y="6204588"/>
                  <a:pt x="1735130" y="6226060"/>
                  <a:pt x="1695017" y="6226060"/>
                </a:cubicBezTo>
                <a:lnTo>
                  <a:pt x="1695017" y="6225997"/>
                </a:lnTo>
                <a:lnTo>
                  <a:pt x="1601928" y="6225997"/>
                </a:lnTo>
                <a:lnTo>
                  <a:pt x="1601928" y="6096370"/>
                </a:lnTo>
                <a:cubicBezTo>
                  <a:pt x="1613722" y="6095869"/>
                  <a:pt x="1625305" y="6095618"/>
                  <a:pt x="1636491" y="6095743"/>
                </a:cubicBezTo>
                <a:close/>
                <a:moveTo>
                  <a:pt x="2900995" y="6034860"/>
                </a:moveTo>
                <a:cubicBezTo>
                  <a:pt x="2948858" y="6034860"/>
                  <a:pt x="2985243" y="6066493"/>
                  <a:pt x="2990605" y="6111361"/>
                </a:cubicBezTo>
                <a:lnTo>
                  <a:pt x="2812536" y="6111361"/>
                </a:lnTo>
                <a:cubicBezTo>
                  <a:pt x="2817940" y="6065197"/>
                  <a:pt x="2855435" y="6034860"/>
                  <a:pt x="2900995" y="6034860"/>
                </a:cubicBezTo>
                <a:close/>
                <a:moveTo>
                  <a:pt x="3058976" y="5976235"/>
                </a:moveTo>
                <a:lnTo>
                  <a:pt x="3186585" y="6296937"/>
                </a:lnTo>
                <a:lnTo>
                  <a:pt x="3256107" y="6296937"/>
                </a:lnTo>
                <a:lnTo>
                  <a:pt x="3383465" y="5976235"/>
                </a:lnTo>
                <a:lnTo>
                  <a:pt x="3302652" y="5976235"/>
                </a:lnTo>
                <a:lnTo>
                  <a:pt x="3222216" y="6205340"/>
                </a:lnTo>
                <a:lnTo>
                  <a:pt x="3140585" y="5976235"/>
                </a:lnTo>
                <a:close/>
                <a:moveTo>
                  <a:pt x="2900303" y="5969377"/>
                </a:moveTo>
                <a:cubicBezTo>
                  <a:pt x="2808849" y="5969377"/>
                  <a:pt x="2737776" y="6042825"/>
                  <a:pt x="2737776" y="6138833"/>
                </a:cubicBezTo>
                <a:cubicBezTo>
                  <a:pt x="2737776" y="6227439"/>
                  <a:pt x="2807760" y="6303794"/>
                  <a:pt x="2903508" y="6303794"/>
                </a:cubicBezTo>
                <a:cubicBezTo>
                  <a:pt x="2973450" y="6303794"/>
                  <a:pt x="3027619" y="6263631"/>
                  <a:pt x="3055289" y="6198545"/>
                </a:cubicBezTo>
                <a:lnTo>
                  <a:pt x="2978687" y="6198545"/>
                </a:lnTo>
                <a:cubicBezTo>
                  <a:pt x="2961426" y="6224324"/>
                  <a:pt x="2938301" y="6238270"/>
                  <a:pt x="2904786" y="6238270"/>
                </a:cubicBezTo>
                <a:cubicBezTo>
                  <a:pt x="2854869" y="6238270"/>
                  <a:pt x="2822213" y="6208999"/>
                  <a:pt x="2812305" y="6163880"/>
                </a:cubicBezTo>
                <a:lnTo>
                  <a:pt x="3063061" y="6163880"/>
                </a:lnTo>
                <a:cubicBezTo>
                  <a:pt x="3064820" y="6153826"/>
                  <a:pt x="3065595" y="6143623"/>
                  <a:pt x="3065344" y="6133418"/>
                </a:cubicBezTo>
                <a:cubicBezTo>
                  <a:pt x="3064569" y="6047237"/>
                  <a:pt x="2998314" y="5969377"/>
                  <a:pt x="2900303" y="5969377"/>
                </a:cubicBezTo>
                <a:close/>
                <a:moveTo>
                  <a:pt x="2207839" y="5969377"/>
                </a:moveTo>
                <a:cubicBezTo>
                  <a:pt x="2168899" y="5969377"/>
                  <a:pt x="2131635" y="5984012"/>
                  <a:pt x="2107587" y="6023172"/>
                </a:cubicBezTo>
                <a:lnTo>
                  <a:pt x="2107587" y="5976235"/>
                </a:lnTo>
                <a:lnTo>
                  <a:pt x="2037122" y="5976235"/>
                </a:lnTo>
                <a:lnTo>
                  <a:pt x="2037122" y="6296936"/>
                </a:lnTo>
                <a:lnTo>
                  <a:pt x="2112531" y="6296936"/>
                </a:lnTo>
                <a:lnTo>
                  <a:pt x="2112531" y="6127062"/>
                </a:lnTo>
                <a:cubicBezTo>
                  <a:pt x="2112338" y="6115195"/>
                  <a:pt x="2113526" y="6103345"/>
                  <a:pt x="2116071" y="6091749"/>
                </a:cubicBezTo>
                <a:cubicBezTo>
                  <a:pt x="2124743" y="6057168"/>
                  <a:pt x="2149439" y="6037076"/>
                  <a:pt x="2185782" y="6037076"/>
                </a:cubicBezTo>
                <a:cubicBezTo>
                  <a:pt x="2223340" y="6037076"/>
                  <a:pt x="2244978" y="6055893"/>
                  <a:pt x="2251933" y="6093338"/>
                </a:cubicBezTo>
                <a:cubicBezTo>
                  <a:pt x="2253699" y="6104469"/>
                  <a:pt x="2254526" y="6115730"/>
                  <a:pt x="2254404" y="6126999"/>
                </a:cubicBezTo>
                <a:lnTo>
                  <a:pt x="2254404" y="6296936"/>
                </a:lnTo>
                <a:lnTo>
                  <a:pt x="2329813" y="6296936"/>
                </a:lnTo>
                <a:lnTo>
                  <a:pt x="2329813" y="6107158"/>
                </a:lnTo>
                <a:cubicBezTo>
                  <a:pt x="2329813" y="6085853"/>
                  <a:pt x="2327719" y="6066618"/>
                  <a:pt x="2322691" y="6050185"/>
                </a:cubicBezTo>
                <a:cubicBezTo>
                  <a:pt x="2306290" y="5995679"/>
                  <a:pt x="2262553" y="5969377"/>
                  <a:pt x="2207839" y="5969377"/>
                </a:cubicBezTo>
                <a:close/>
                <a:moveTo>
                  <a:pt x="1283347" y="5934943"/>
                </a:moveTo>
                <a:lnTo>
                  <a:pt x="1341768" y="6090516"/>
                </a:lnTo>
                <a:cubicBezTo>
                  <a:pt x="1281210" y="6118219"/>
                  <a:pt x="1227335" y="6153720"/>
                  <a:pt x="1182801" y="6194448"/>
                </a:cubicBezTo>
                <a:lnTo>
                  <a:pt x="1182801" y="6194406"/>
                </a:lnTo>
                <a:close/>
                <a:moveTo>
                  <a:pt x="2463999" y="5916565"/>
                </a:moveTo>
                <a:lnTo>
                  <a:pt x="2533459" y="5916565"/>
                </a:lnTo>
                <a:cubicBezTo>
                  <a:pt x="2549295" y="5916565"/>
                  <a:pt x="2566136" y="5918656"/>
                  <a:pt x="2576945" y="5923715"/>
                </a:cubicBezTo>
                <a:cubicBezTo>
                  <a:pt x="2595797" y="5932392"/>
                  <a:pt x="2605957" y="5948595"/>
                  <a:pt x="2605957" y="5972932"/>
                </a:cubicBezTo>
                <a:cubicBezTo>
                  <a:pt x="2605957" y="5997268"/>
                  <a:pt x="2595127" y="6014120"/>
                  <a:pt x="2575918" y="6022755"/>
                </a:cubicBezTo>
                <a:cubicBezTo>
                  <a:pt x="2566304" y="6027062"/>
                  <a:pt x="2552269" y="6029341"/>
                  <a:pt x="2536119" y="6029341"/>
                </a:cubicBezTo>
                <a:lnTo>
                  <a:pt x="2464041" y="6029341"/>
                </a:lnTo>
                <a:close/>
                <a:moveTo>
                  <a:pt x="1601928" y="5916565"/>
                </a:moveTo>
                <a:lnTo>
                  <a:pt x="1668309" y="5916565"/>
                </a:lnTo>
                <a:cubicBezTo>
                  <a:pt x="1683475" y="5916565"/>
                  <a:pt x="1696190" y="5918279"/>
                  <a:pt x="1704904" y="5921123"/>
                </a:cubicBezTo>
                <a:cubicBezTo>
                  <a:pt x="1730040" y="5929339"/>
                  <a:pt x="1743886" y="5948303"/>
                  <a:pt x="1743886" y="5978870"/>
                </a:cubicBezTo>
                <a:cubicBezTo>
                  <a:pt x="1743886" y="6007178"/>
                  <a:pt x="1729600" y="6025786"/>
                  <a:pt x="1706935" y="6034337"/>
                </a:cubicBezTo>
                <a:cubicBezTo>
                  <a:pt x="1682943" y="6030424"/>
                  <a:pt x="1658665" y="6028521"/>
                  <a:pt x="1634354" y="6028651"/>
                </a:cubicBezTo>
                <a:cubicBezTo>
                  <a:pt x="1624258" y="6028651"/>
                  <a:pt x="1613156" y="6028797"/>
                  <a:pt x="1601928" y="6029152"/>
                </a:cubicBezTo>
                <a:close/>
                <a:moveTo>
                  <a:pt x="905952" y="5873642"/>
                </a:moveTo>
                <a:cubicBezTo>
                  <a:pt x="801401" y="5922221"/>
                  <a:pt x="732553" y="6024762"/>
                  <a:pt x="727281" y="6139754"/>
                </a:cubicBezTo>
                <a:cubicBezTo>
                  <a:pt x="723846" y="6211994"/>
                  <a:pt x="746003" y="6283136"/>
                  <a:pt x="789868" y="6340697"/>
                </a:cubicBezTo>
                <a:cubicBezTo>
                  <a:pt x="935664" y="6305967"/>
                  <a:pt x="1025649" y="6159842"/>
                  <a:pt x="990857" y="6014314"/>
                </a:cubicBezTo>
                <a:cubicBezTo>
                  <a:pt x="977820" y="5959784"/>
                  <a:pt x="948154" y="5910634"/>
                  <a:pt x="905952" y="5873642"/>
                </a:cubicBezTo>
                <a:close/>
                <a:moveTo>
                  <a:pt x="2386663" y="5845751"/>
                </a:moveTo>
                <a:lnTo>
                  <a:pt x="2386663" y="6296937"/>
                </a:lnTo>
                <a:lnTo>
                  <a:pt x="2546698" y="6296937"/>
                </a:lnTo>
                <a:cubicBezTo>
                  <a:pt x="2577887" y="6296937"/>
                  <a:pt x="2598793" y="6293968"/>
                  <a:pt x="2619279" y="6286755"/>
                </a:cubicBezTo>
                <a:cubicBezTo>
                  <a:pt x="2672903" y="6267938"/>
                  <a:pt x="2709874" y="6226311"/>
                  <a:pt x="2709874" y="6165324"/>
                </a:cubicBezTo>
                <a:cubicBezTo>
                  <a:pt x="2709874" y="6114414"/>
                  <a:pt x="2685638" y="6078223"/>
                  <a:pt x="2639953" y="6055789"/>
                </a:cubicBezTo>
                <a:cubicBezTo>
                  <a:pt x="2670536" y="6032351"/>
                  <a:pt x="2683397" y="6005464"/>
                  <a:pt x="2683397" y="5967057"/>
                </a:cubicBezTo>
                <a:cubicBezTo>
                  <a:pt x="2683397" y="5909561"/>
                  <a:pt x="2647787" y="5866470"/>
                  <a:pt x="2593325" y="5851772"/>
                </a:cubicBezTo>
                <a:cubicBezTo>
                  <a:pt x="2579207" y="5847988"/>
                  <a:pt x="2556270" y="5845751"/>
                  <a:pt x="2529563" y="5845751"/>
                </a:cubicBezTo>
                <a:close/>
                <a:moveTo>
                  <a:pt x="1893510" y="5845751"/>
                </a:moveTo>
                <a:lnTo>
                  <a:pt x="1893510" y="6296937"/>
                </a:lnTo>
                <a:lnTo>
                  <a:pt x="1971726" y="6296937"/>
                </a:lnTo>
                <a:lnTo>
                  <a:pt x="1971726" y="5845751"/>
                </a:lnTo>
                <a:close/>
                <a:moveTo>
                  <a:pt x="1248261" y="5845730"/>
                </a:moveTo>
                <a:lnTo>
                  <a:pt x="1063781" y="6296937"/>
                </a:lnTo>
                <a:lnTo>
                  <a:pt x="1139043" y="6296937"/>
                </a:lnTo>
                <a:cubicBezTo>
                  <a:pt x="1204105" y="6228297"/>
                  <a:pt x="1281755" y="6179039"/>
                  <a:pt x="1362610" y="6146402"/>
                </a:cubicBezTo>
                <a:lnTo>
                  <a:pt x="1419167" y="6296937"/>
                </a:lnTo>
                <a:lnTo>
                  <a:pt x="1504525" y="6296937"/>
                </a:lnTo>
                <a:lnTo>
                  <a:pt x="1433075" y="6122128"/>
                </a:lnTo>
                <a:cubicBezTo>
                  <a:pt x="1463094" y="6113607"/>
                  <a:pt x="1493645" y="6107077"/>
                  <a:pt x="1524530" y="6102580"/>
                </a:cubicBezTo>
                <a:lnTo>
                  <a:pt x="1524530" y="6296874"/>
                </a:lnTo>
                <a:lnTo>
                  <a:pt x="1563365" y="6296874"/>
                </a:lnTo>
                <a:lnTo>
                  <a:pt x="1699772" y="6296874"/>
                </a:lnTo>
                <a:cubicBezTo>
                  <a:pt x="1796127" y="6296874"/>
                  <a:pt x="1847866" y="6240424"/>
                  <a:pt x="1847866" y="6165156"/>
                </a:cubicBezTo>
                <a:cubicBezTo>
                  <a:pt x="1847866" y="6119703"/>
                  <a:pt x="1825223" y="6080920"/>
                  <a:pt x="1777150" y="6056416"/>
                </a:cubicBezTo>
                <a:cubicBezTo>
                  <a:pt x="1809743" y="6032623"/>
                  <a:pt x="1821264" y="5997059"/>
                  <a:pt x="1821264" y="5967057"/>
                </a:cubicBezTo>
                <a:cubicBezTo>
                  <a:pt x="1821264" y="5909561"/>
                  <a:pt x="1785654" y="5866470"/>
                  <a:pt x="1731192" y="5851772"/>
                </a:cubicBezTo>
                <a:cubicBezTo>
                  <a:pt x="1717074" y="5847988"/>
                  <a:pt x="1694137" y="5845751"/>
                  <a:pt x="1667430" y="5845751"/>
                </a:cubicBezTo>
                <a:lnTo>
                  <a:pt x="1524530" y="5845751"/>
                </a:lnTo>
                <a:lnTo>
                  <a:pt x="1524530" y="6036136"/>
                </a:lnTo>
                <a:cubicBezTo>
                  <a:pt x="1485399" y="6042059"/>
                  <a:pt x="1446854" y="6051342"/>
                  <a:pt x="1409322" y="6063880"/>
                </a:cubicBezTo>
                <a:lnTo>
                  <a:pt x="1320046" y="5845730"/>
                </a:lnTo>
                <a:close/>
                <a:moveTo>
                  <a:pt x="719325" y="5806530"/>
                </a:moveTo>
                <a:cubicBezTo>
                  <a:pt x="593204" y="5809926"/>
                  <a:pt x="482613" y="5901278"/>
                  <a:pt x="459807" y="6030125"/>
                </a:cubicBezTo>
                <a:cubicBezTo>
                  <a:pt x="458412" y="6038009"/>
                  <a:pt x="457367" y="6045952"/>
                  <a:pt x="456677" y="6053928"/>
                </a:cubicBezTo>
                <a:cubicBezTo>
                  <a:pt x="478260" y="6057066"/>
                  <a:pt x="500133" y="6057698"/>
                  <a:pt x="521862" y="6055810"/>
                </a:cubicBezTo>
                <a:cubicBezTo>
                  <a:pt x="657300" y="6044018"/>
                  <a:pt x="761549" y="5938686"/>
                  <a:pt x="774117" y="5810606"/>
                </a:cubicBezTo>
                <a:cubicBezTo>
                  <a:pt x="755677" y="5807354"/>
                  <a:pt x="737342" y="5806044"/>
                  <a:pt x="719325" y="5806530"/>
                </a:cubicBezTo>
                <a:close/>
                <a:moveTo>
                  <a:pt x="0" y="0"/>
                </a:moveTo>
                <a:lnTo>
                  <a:pt x="11496675" y="0"/>
                </a:lnTo>
                <a:lnTo>
                  <a:pt x="11496675" y="6858000"/>
                </a:lnTo>
                <a:lnTo>
                  <a:pt x="0" y="6858000"/>
                </a:lnTo>
                <a:close/>
              </a:path>
            </a:pathLst>
          </a:custGeom>
          <a:pattFill prst="pct25">
            <a:fgClr>
              <a:schemeClr val="tx1"/>
            </a:fgClr>
            <a:bgClr>
              <a:schemeClr val="bg1"/>
            </a:bgClr>
          </a:pattFill>
        </p:spPr>
        <p:txBody>
          <a:bodyPr wrap="square" anchor="ctr">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a:t>                                                                                                                                                                                        Insert background image here</a:t>
            </a:r>
          </a:p>
          <a:p>
            <a:endParaRPr lang="en-US"/>
          </a:p>
        </p:txBody>
      </p:sp>
      <p:sp>
        <p:nvSpPr>
          <p:cNvPr id="3" name="Text Placeholder 2">
            <a:extLst>
              <a:ext uri="{FF2B5EF4-FFF2-40B4-BE49-F238E27FC236}">
                <a16:creationId xmlns:a16="http://schemas.microsoft.com/office/drawing/2014/main" id="{63E281CD-A54D-3442-B2F6-DCC90535935E}"/>
              </a:ext>
            </a:extLst>
          </p:cNvPr>
          <p:cNvSpPr>
            <a:spLocks noGrp="1"/>
          </p:cNvSpPr>
          <p:nvPr>
            <p:ph type="body" sz="quarter" idx="11" hasCustomPrompt="1"/>
          </p:nvPr>
        </p:nvSpPr>
        <p:spPr>
          <a:xfrm>
            <a:off x="457200" y="483251"/>
            <a:ext cx="6204930" cy="184944"/>
          </a:xfrm>
        </p:spPr>
        <p:txBody>
          <a:bodyPr rIns="0" anchor="b"/>
          <a:lstStyle>
            <a:lvl1pPr algn="l">
              <a:defRPr lang="en-US" sz="1200" b="1" kern="1200" baseline="0" dirty="0" smtClean="0">
                <a:solidFill>
                  <a:schemeClr val="bg1"/>
                </a:solidFill>
                <a:latin typeface="Arial" panose="020B0604020202020204" pitchFamily="34" charset="0"/>
                <a:ea typeface="+mn-ea"/>
                <a:cs typeface="Arial" panose="020B0604020202020204" pitchFamily="34" charset="0"/>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Subtitle Goes Here</a:t>
            </a:r>
          </a:p>
        </p:txBody>
      </p:sp>
      <p:sp>
        <p:nvSpPr>
          <p:cNvPr id="13" name="Text Placeholder 2">
            <a:extLst>
              <a:ext uri="{FF2B5EF4-FFF2-40B4-BE49-F238E27FC236}">
                <a16:creationId xmlns:a16="http://schemas.microsoft.com/office/drawing/2014/main" id="{F444DE9C-F571-BB4C-9C1C-7332F4140BF6}"/>
              </a:ext>
            </a:extLst>
          </p:cNvPr>
          <p:cNvSpPr>
            <a:spLocks noGrp="1"/>
          </p:cNvSpPr>
          <p:nvPr>
            <p:ph type="body" sz="quarter" idx="12" hasCustomPrompt="1"/>
          </p:nvPr>
        </p:nvSpPr>
        <p:spPr>
          <a:xfrm>
            <a:off x="457201" y="661482"/>
            <a:ext cx="6204928" cy="184944"/>
          </a:xfrm>
        </p:spPr>
        <p:txBody>
          <a:bodyPr rIns="0" anchor="b"/>
          <a:lstStyle>
            <a:lvl1pPr algn="l">
              <a:defRPr lang="en-US" sz="1200" b="0" kern="1200" baseline="0" dirty="0">
                <a:solidFill>
                  <a:schemeClr val="bg1"/>
                </a:solidFill>
                <a:latin typeface="+mn-lt"/>
                <a:ea typeface="+mn-ea"/>
                <a:cs typeface="+mn-cs"/>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00.00.0000</a:t>
            </a:r>
          </a:p>
        </p:txBody>
      </p:sp>
      <p:sp>
        <p:nvSpPr>
          <p:cNvPr id="4" name="Text Placeholder 3">
            <a:extLst>
              <a:ext uri="{FF2B5EF4-FFF2-40B4-BE49-F238E27FC236}">
                <a16:creationId xmlns:a16="http://schemas.microsoft.com/office/drawing/2014/main" id="{4C1B3CE5-5669-E845-98B1-856DE736BC17}"/>
              </a:ext>
            </a:extLst>
          </p:cNvPr>
          <p:cNvSpPr>
            <a:spLocks noGrp="1"/>
          </p:cNvSpPr>
          <p:nvPr>
            <p:ph type="body" sz="quarter" idx="10" hasCustomPrompt="1"/>
          </p:nvPr>
        </p:nvSpPr>
        <p:spPr>
          <a:xfrm>
            <a:off x="457200" y="2353235"/>
            <a:ext cx="6204930" cy="2097587"/>
          </a:xfrm>
        </p:spPr>
        <p:txBody>
          <a:bodyPr rIns="0" anchor="b"/>
          <a:lstStyle>
            <a:lvl1pPr algn="l">
              <a:lnSpc>
                <a:spcPct val="80000"/>
              </a:lnSpc>
              <a:defRPr kumimoji="0" lang="en-US" sz="5600" b="1" i="0" u="none" strike="noStrike" kern="1200" cap="none" spc="0" normalizeH="0" baseline="0" dirty="0">
                <a:ln>
                  <a:noFill/>
                </a:ln>
                <a:solidFill>
                  <a:schemeClr val="bg1"/>
                </a:solidFill>
                <a:effectLst/>
                <a:uLnTx/>
                <a:uFillTx/>
                <a:latin typeface="Arial" panose="020B0604020202020204"/>
                <a:ea typeface="+mj-ea"/>
                <a:cs typeface="Arial" panose="020B0604020202020204" pitchFamily="34" charset="0"/>
              </a:defRPr>
            </a:lvl1pPr>
          </a:lstStyle>
          <a:p>
            <a:pPr lvl="0"/>
            <a:r>
              <a:rPr lang="en-US"/>
              <a:t>Two or Three-Line Presentation Title Goes Here</a:t>
            </a:r>
          </a:p>
        </p:txBody>
      </p:sp>
      <p:sp>
        <p:nvSpPr>
          <p:cNvPr id="28" name="Rectangle 27">
            <a:extLst>
              <a:ext uri="{FF2B5EF4-FFF2-40B4-BE49-F238E27FC236}">
                <a16:creationId xmlns:a16="http://schemas.microsoft.com/office/drawing/2014/main" id="{647035A7-7A02-644D-AB50-DD78EC74956F}"/>
              </a:ext>
            </a:extLst>
          </p:cNvPr>
          <p:cNvSpPr/>
          <p:nvPr userDrawn="1"/>
        </p:nvSpPr>
        <p:spPr>
          <a:xfrm rot="10800000">
            <a:off x="11496366" y="-4"/>
            <a:ext cx="715297" cy="6858003"/>
          </a:xfrm>
          <a:prstGeom prst="rect">
            <a:avLst/>
          </a:prstGeom>
          <a:gradFill>
            <a:gsLst>
              <a:gs pos="0">
                <a:srgbClr val="D1A33C"/>
              </a:gs>
              <a:gs pos="100000">
                <a:srgbClr val="F2D71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422335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Photo 2">
    <p:spTree>
      <p:nvGrpSpPr>
        <p:cNvPr id="1" name=""/>
        <p:cNvGrpSpPr/>
        <p:nvPr/>
      </p:nvGrpSpPr>
      <p:grpSpPr>
        <a:xfrm>
          <a:off x="0" y="0"/>
          <a:ext cx="0" cy="0"/>
          <a:chOff x="0" y="0"/>
          <a:chExt cx="0" cy="0"/>
        </a:xfrm>
      </p:grpSpPr>
      <p:sp>
        <p:nvSpPr>
          <p:cNvPr id="37" name="Picture Placeholder 36">
            <a:extLst>
              <a:ext uri="{FF2B5EF4-FFF2-40B4-BE49-F238E27FC236}">
                <a16:creationId xmlns:a16="http://schemas.microsoft.com/office/drawing/2014/main" id="{65AD1510-2F3F-0E4C-9DC7-E18C56806C08}"/>
              </a:ext>
            </a:extLst>
          </p:cNvPr>
          <p:cNvSpPr>
            <a:spLocks noGrp="1"/>
          </p:cNvSpPr>
          <p:nvPr>
            <p:ph type="pic" sz="quarter" idx="13" hasCustomPrompt="1"/>
          </p:nvPr>
        </p:nvSpPr>
        <p:spPr>
          <a:xfrm>
            <a:off x="2" y="228600"/>
            <a:ext cx="12191999" cy="6629400"/>
          </a:xfrm>
          <a:custGeom>
            <a:avLst/>
            <a:gdLst>
              <a:gd name="connsiteX0" fmla="*/ 460821 w 12191999"/>
              <a:gd name="connsiteY0" fmla="*/ 5898317 h 6629400"/>
              <a:gd name="connsiteX1" fmla="*/ 685915 w 12191999"/>
              <a:gd name="connsiteY1" fmla="*/ 6116195 h 6629400"/>
              <a:gd name="connsiteX2" fmla="*/ 512601 w 12191999"/>
              <a:gd name="connsiteY2" fmla="*/ 5911907 h 6629400"/>
              <a:gd name="connsiteX3" fmla="*/ 460821 w 12191999"/>
              <a:gd name="connsiteY3" fmla="*/ 5898317 h 6629400"/>
              <a:gd name="connsiteX4" fmla="*/ 2464549 w 12191999"/>
              <a:gd name="connsiteY4" fmla="*/ 5870301 h 6629400"/>
              <a:gd name="connsiteX5" fmla="*/ 2557701 w 12191999"/>
              <a:gd name="connsiteY5" fmla="*/ 5870301 h 6629400"/>
              <a:gd name="connsiteX6" fmla="*/ 2582355 w 12191999"/>
              <a:gd name="connsiteY6" fmla="*/ 5872643 h 6629400"/>
              <a:gd name="connsiteX7" fmla="*/ 2633004 w 12191999"/>
              <a:gd name="connsiteY7" fmla="*/ 5933818 h 6629400"/>
              <a:gd name="connsiteX8" fmla="*/ 2581769 w 12191999"/>
              <a:gd name="connsiteY8" fmla="*/ 5994869 h 6629400"/>
              <a:gd name="connsiteX9" fmla="*/ 2581810 w 12191999"/>
              <a:gd name="connsiteY9" fmla="*/ 5994869 h 6629400"/>
              <a:gd name="connsiteX10" fmla="*/ 2551185 w 12191999"/>
              <a:gd name="connsiteY10" fmla="*/ 5997524 h 6629400"/>
              <a:gd name="connsiteX11" fmla="*/ 2464549 w 12191999"/>
              <a:gd name="connsiteY11" fmla="*/ 5997524 h 6629400"/>
              <a:gd name="connsiteX12" fmla="*/ 1637003 w 12191999"/>
              <a:gd name="connsiteY12" fmla="*/ 5867144 h 6629400"/>
              <a:gd name="connsiteX13" fmla="*/ 1770916 w 12191999"/>
              <a:gd name="connsiteY13" fmla="*/ 5936599 h 6629400"/>
              <a:gd name="connsiteX14" fmla="*/ 1695528 w 12191999"/>
              <a:gd name="connsiteY14" fmla="*/ 5997461 h 6629400"/>
              <a:gd name="connsiteX15" fmla="*/ 1695528 w 12191999"/>
              <a:gd name="connsiteY15" fmla="*/ 5997398 h 6629400"/>
              <a:gd name="connsiteX16" fmla="*/ 1602441 w 12191999"/>
              <a:gd name="connsiteY16" fmla="*/ 5997398 h 6629400"/>
              <a:gd name="connsiteX17" fmla="*/ 1602441 w 12191999"/>
              <a:gd name="connsiteY17" fmla="*/ 5867771 h 6629400"/>
              <a:gd name="connsiteX18" fmla="*/ 1637003 w 12191999"/>
              <a:gd name="connsiteY18" fmla="*/ 5867144 h 6629400"/>
              <a:gd name="connsiteX19" fmla="*/ 2901500 w 12191999"/>
              <a:gd name="connsiteY19" fmla="*/ 5806261 h 6629400"/>
              <a:gd name="connsiteX20" fmla="*/ 2991111 w 12191999"/>
              <a:gd name="connsiteY20" fmla="*/ 5882762 h 6629400"/>
              <a:gd name="connsiteX21" fmla="*/ 2813042 w 12191999"/>
              <a:gd name="connsiteY21" fmla="*/ 5882762 h 6629400"/>
              <a:gd name="connsiteX22" fmla="*/ 2901500 w 12191999"/>
              <a:gd name="connsiteY22" fmla="*/ 5806261 h 6629400"/>
              <a:gd name="connsiteX23" fmla="*/ 3059481 w 12191999"/>
              <a:gd name="connsiteY23" fmla="*/ 5747636 h 6629400"/>
              <a:gd name="connsiteX24" fmla="*/ 3187089 w 12191999"/>
              <a:gd name="connsiteY24" fmla="*/ 6068338 h 6629400"/>
              <a:gd name="connsiteX25" fmla="*/ 3256611 w 12191999"/>
              <a:gd name="connsiteY25" fmla="*/ 6068338 h 6629400"/>
              <a:gd name="connsiteX26" fmla="*/ 3383967 w 12191999"/>
              <a:gd name="connsiteY26" fmla="*/ 5747636 h 6629400"/>
              <a:gd name="connsiteX27" fmla="*/ 3303154 w 12191999"/>
              <a:gd name="connsiteY27" fmla="*/ 5747636 h 6629400"/>
              <a:gd name="connsiteX28" fmla="*/ 3222719 w 12191999"/>
              <a:gd name="connsiteY28" fmla="*/ 5976741 h 6629400"/>
              <a:gd name="connsiteX29" fmla="*/ 3141090 w 12191999"/>
              <a:gd name="connsiteY29" fmla="*/ 5747636 h 6629400"/>
              <a:gd name="connsiteX30" fmla="*/ 2900809 w 12191999"/>
              <a:gd name="connsiteY30" fmla="*/ 5740778 h 6629400"/>
              <a:gd name="connsiteX31" fmla="*/ 2738282 w 12191999"/>
              <a:gd name="connsiteY31" fmla="*/ 5910234 h 6629400"/>
              <a:gd name="connsiteX32" fmla="*/ 2904013 w 12191999"/>
              <a:gd name="connsiteY32" fmla="*/ 6075195 h 6629400"/>
              <a:gd name="connsiteX33" fmla="*/ 3055794 w 12191999"/>
              <a:gd name="connsiteY33" fmla="*/ 5969946 h 6629400"/>
              <a:gd name="connsiteX34" fmla="*/ 2979192 w 12191999"/>
              <a:gd name="connsiteY34" fmla="*/ 5969946 h 6629400"/>
              <a:gd name="connsiteX35" fmla="*/ 2905292 w 12191999"/>
              <a:gd name="connsiteY35" fmla="*/ 6009671 h 6629400"/>
              <a:gd name="connsiteX36" fmla="*/ 2812812 w 12191999"/>
              <a:gd name="connsiteY36" fmla="*/ 5935281 h 6629400"/>
              <a:gd name="connsiteX37" fmla="*/ 3063565 w 12191999"/>
              <a:gd name="connsiteY37" fmla="*/ 5935281 h 6629400"/>
              <a:gd name="connsiteX38" fmla="*/ 3065848 w 12191999"/>
              <a:gd name="connsiteY38" fmla="*/ 5904819 h 6629400"/>
              <a:gd name="connsiteX39" fmla="*/ 2900809 w 12191999"/>
              <a:gd name="connsiteY39" fmla="*/ 5740778 h 6629400"/>
              <a:gd name="connsiteX40" fmla="*/ 2208349 w 12191999"/>
              <a:gd name="connsiteY40" fmla="*/ 5740778 h 6629400"/>
              <a:gd name="connsiteX41" fmla="*/ 2108099 w 12191999"/>
              <a:gd name="connsiteY41" fmla="*/ 5794573 h 6629400"/>
              <a:gd name="connsiteX42" fmla="*/ 2108099 w 12191999"/>
              <a:gd name="connsiteY42" fmla="*/ 5747636 h 6629400"/>
              <a:gd name="connsiteX43" fmla="*/ 2037632 w 12191999"/>
              <a:gd name="connsiteY43" fmla="*/ 5747636 h 6629400"/>
              <a:gd name="connsiteX44" fmla="*/ 2037632 w 12191999"/>
              <a:gd name="connsiteY44" fmla="*/ 6068337 h 6629400"/>
              <a:gd name="connsiteX45" fmla="*/ 2113041 w 12191999"/>
              <a:gd name="connsiteY45" fmla="*/ 6068337 h 6629400"/>
              <a:gd name="connsiteX46" fmla="*/ 2113041 w 12191999"/>
              <a:gd name="connsiteY46" fmla="*/ 5898463 h 6629400"/>
              <a:gd name="connsiteX47" fmla="*/ 2116581 w 12191999"/>
              <a:gd name="connsiteY47" fmla="*/ 5863150 h 6629400"/>
              <a:gd name="connsiteX48" fmla="*/ 2186293 w 12191999"/>
              <a:gd name="connsiteY48" fmla="*/ 5808477 h 6629400"/>
              <a:gd name="connsiteX49" fmla="*/ 2252442 w 12191999"/>
              <a:gd name="connsiteY49" fmla="*/ 5864739 h 6629400"/>
              <a:gd name="connsiteX50" fmla="*/ 2254915 w 12191999"/>
              <a:gd name="connsiteY50" fmla="*/ 5898400 h 6629400"/>
              <a:gd name="connsiteX51" fmla="*/ 2254915 w 12191999"/>
              <a:gd name="connsiteY51" fmla="*/ 6068337 h 6629400"/>
              <a:gd name="connsiteX52" fmla="*/ 2330323 w 12191999"/>
              <a:gd name="connsiteY52" fmla="*/ 6068337 h 6629400"/>
              <a:gd name="connsiteX53" fmla="*/ 2330323 w 12191999"/>
              <a:gd name="connsiteY53" fmla="*/ 5878559 h 6629400"/>
              <a:gd name="connsiteX54" fmla="*/ 2323200 w 12191999"/>
              <a:gd name="connsiteY54" fmla="*/ 5821586 h 6629400"/>
              <a:gd name="connsiteX55" fmla="*/ 2208349 w 12191999"/>
              <a:gd name="connsiteY55" fmla="*/ 5740778 h 6629400"/>
              <a:gd name="connsiteX56" fmla="*/ 1283861 w 12191999"/>
              <a:gd name="connsiteY56" fmla="*/ 5706344 h 6629400"/>
              <a:gd name="connsiteX57" fmla="*/ 1342282 w 12191999"/>
              <a:gd name="connsiteY57" fmla="*/ 5861917 h 6629400"/>
              <a:gd name="connsiteX58" fmla="*/ 1183317 w 12191999"/>
              <a:gd name="connsiteY58" fmla="*/ 5965849 h 6629400"/>
              <a:gd name="connsiteX59" fmla="*/ 1183317 w 12191999"/>
              <a:gd name="connsiteY59" fmla="*/ 5965807 h 6629400"/>
              <a:gd name="connsiteX60" fmla="*/ 2464508 w 12191999"/>
              <a:gd name="connsiteY60" fmla="*/ 5687966 h 6629400"/>
              <a:gd name="connsiteX61" fmla="*/ 2533967 w 12191999"/>
              <a:gd name="connsiteY61" fmla="*/ 5687966 h 6629400"/>
              <a:gd name="connsiteX62" fmla="*/ 2577453 w 12191999"/>
              <a:gd name="connsiteY62" fmla="*/ 5695116 h 6629400"/>
              <a:gd name="connsiteX63" fmla="*/ 2606465 w 12191999"/>
              <a:gd name="connsiteY63" fmla="*/ 5744333 h 6629400"/>
              <a:gd name="connsiteX64" fmla="*/ 2576426 w 12191999"/>
              <a:gd name="connsiteY64" fmla="*/ 5794156 h 6629400"/>
              <a:gd name="connsiteX65" fmla="*/ 2536627 w 12191999"/>
              <a:gd name="connsiteY65" fmla="*/ 5800742 h 6629400"/>
              <a:gd name="connsiteX66" fmla="*/ 2464549 w 12191999"/>
              <a:gd name="connsiteY66" fmla="*/ 5800742 h 6629400"/>
              <a:gd name="connsiteX67" fmla="*/ 1602441 w 12191999"/>
              <a:gd name="connsiteY67" fmla="*/ 5687966 h 6629400"/>
              <a:gd name="connsiteX68" fmla="*/ 1668821 w 12191999"/>
              <a:gd name="connsiteY68" fmla="*/ 5687966 h 6629400"/>
              <a:gd name="connsiteX69" fmla="*/ 1705415 w 12191999"/>
              <a:gd name="connsiteY69" fmla="*/ 5692524 h 6629400"/>
              <a:gd name="connsiteX70" fmla="*/ 1744397 w 12191999"/>
              <a:gd name="connsiteY70" fmla="*/ 5750271 h 6629400"/>
              <a:gd name="connsiteX71" fmla="*/ 1707447 w 12191999"/>
              <a:gd name="connsiteY71" fmla="*/ 5805738 h 6629400"/>
              <a:gd name="connsiteX72" fmla="*/ 1634866 w 12191999"/>
              <a:gd name="connsiteY72" fmla="*/ 5800052 h 6629400"/>
              <a:gd name="connsiteX73" fmla="*/ 1602441 w 12191999"/>
              <a:gd name="connsiteY73" fmla="*/ 5800553 h 6629400"/>
              <a:gd name="connsiteX74" fmla="*/ 906484 w 12191999"/>
              <a:gd name="connsiteY74" fmla="*/ 5645042 h 6629400"/>
              <a:gd name="connsiteX75" fmla="*/ 727808 w 12191999"/>
              <a:gd name="connsiteY75" fmla="*/ 5911154 h 6629400"/>
              <a:gd name="connsiteX76" fmla="*/ 790397 w 12191999"/>
              <a:gd name="connsiteY76" fmla="*/ 6112097 h 6629400"/>
              <a:gd name="connsiteX77" fmla="*/ 991392 w 12191999"/>
              <a:gd name="connsiteY77" fmla="*/ 5785714 h 6629400"/>
              <a:gd name="connsiteX78" fmla="*/ 906484 w 12191999"/>
              <a:gd name="connsiteY78" fmla="*/ 5645042 h 6629400"/>
              <a:gd name="connsiteX79" fmla="*/ 2387172 w 12191999"/>
              <a:gd name="connsiteY79" fmla="*/ 5617152 h 6629400"/>
              <a:gd name="connsiteX80" fmla="*/ 2387172 w 12191999"/>
              <a:gd name="connsiteY80" fmla="*/ 6068338 h 6629400"/>
              <a:gd name="connsiteX81" fmla="*/ 2547206 w 12191999"/>
              <a:gd name="connsiteY81" fmla="*/ 6068338 h 6629400"/>
              <a:gd name="connsiteX82" fmla="*/ 2619786 w 12191999"/>
              <a:gd name="connsiteY82" fmla="*/ 6058156 h 6629400"/>
              <a:gd name="connsiteX83" fmla="*/ 2710381 w 12191999"/>
              <a:gd name="connsiteY83" fmla="*/ 5936725 h 6629400"/>
              <a:gd name="connsiteX84" fmla="*/ 2640462 w 12191999"/>
              <a:gd name="connsiteY84" fmla="*/ 5827190 h 6629400"/>
              <a:gd name="connsiteX85" fmla="*/ 2683905 w 12191999"/>
              <a:gd name="connsiteY85" fmla="*/ 5738458 h 6629400"/>
              <a:gd name="connsiteX86" fmla="*/ 2593833 w 12191999"/>
              <a:gd name="connsiteY86" fmla="*/ 5623173 h 6629400"/>
              <a:gd name="connsiteX87" fmla="*/ 2530072 w 12191999"/>
              <a:gd name="connsiteY87" fmla="*/ 5617152 h 6629400"/>
              <a:gd name="connsiteX88" fmla="*/ 1894021 w 12191999"/>
              <a:gd name="connsiteY88" fmla="*/ 5617152 h 6629400"/>
              <a:gd name="connsiteX89" fmla="*/ 1894021 w 12191999"/>
              <a:gd name="connsiteY89" fmla="*/ 6068338 h 6629400"/>
              <a:gd name="connsiteX90" fmla="*/ 1972236 w 12191999"/>
              <a:gd name="connsiteY90" fmla="*/ 6068338 h 6629400"/>
              <a:gd name="connsiteX91" fmla="*/ 1972236 w 12191999"/>
              <a:gd name="connsiteY91" fmla="*/ 5617152 h 6629400"/>
              <a:gd name="connsiteX92" fmla="*/ 1248775 w 12191999"/>
              <a:gd name="connsiteY92" fmla="*/ 5617131 h 6629400"/>
              <a:gd name="connsiteX93" fmla="*/ 1064297 w 12191999"/>
              <a:gd name="connsiteY93" fmla="*/ 6068338 h 6629400"/>
              <a:gd name="connsiteX94" fmla="*/ 1139559 w 12191999"/>
              <a:gd name="connsiteY94" fmla="*/ 6068338 h 6629400"/>
              <a:gd name="connsiteX95" fmla="*/ 1363124 w 12191999"/>
              <a:gd name="connsiteY95" fmla="*/ 5917803 h 6629400"/>
              <a:gd name="connsiteX96" fmla="*/ 1419680 w 12191999"/>
              <a:gd name="connsiteY96" fmla="*/ 6068338 h 6629400"/>
              <a:gd name="connsiteX97" fmla="*/ 1505038 w 12191999"/>
              <a:gd name="connsiteY97" fmla="*/ 6068338 h 6629400"/>
              <a:gd name="connsiteX98" fmla="*/ 1433589 w 12191999"/>
              <a:gd name="connsiteY98" fmla="*/ 5893529 h 6629400"/>
              <a:gd name="connsiteX99" fmla="*/ 1525042 w 12191999"/>
              <a:gd name="connsiteY99" fmla="*/ 5873981 h 6629400"/>
              <a:gd name="connsiteX100" fmla="*/ 1525042 w 12191999"/>
              <a:gd name="connsiteY100" fmla="*/ 6068275 h 6629400"/>
              <a:gd name="connsiteX101" fmla="*/ 1563878 w 12191999"/>
              <a:gd name="connsiteY101" fmla="*/ 6068275 h 6629400"/>
              <a:gd name="connsiteX102" fmla="*/ 1700283 w 12191999"/>
              <a:gd name="connsiteY102" fmla="*/ 6068275 h 6629400"/>
              <a:gd name="connsiteX103" fmla="*/ 1848377 w 12191999"/>
              <a:gd name="connsiteY103" fmla="*/ 5936557 h 6629400"/>
              <a:gd name="connsiteX104" fmla="*/ 1777661 w 12191999"/>
              <a:gd name="connsiteY104" fmla="*/ 5827817 h 6629400"/>
              <a:gd name="connsiteX105" fmla="*/ 1821775 w 12191999"/>
              <a:gd name="connsiteY105" fmla="*/ 5738458 h 6629400"/>
              <a:gd name="connsiteX106" fmla="*/ 1731703 w 12191999"/>
              <a:gd name="connsiteY106" fmla="*/ 5623173 h 6629400"/>
              <a:gd name="connsiteX107" fmla="*/ 1667941 w 12191999"/>
              <a:gd name="connsiteY107" fmla="*/ 5617152 h 6629400"/>
              <a:gd name="connsiteX108" fmla="*/ 1525042 w 12191999"/>
              <a:gd name="connsiteY108" fmla="*/ 5617152 h 6629400"/>
              <a:gd name="connsiteX109" fmla="*/ 1525042 w 12191999"/>
              <a:gd name="connsiteY109" fmla="*/ 5807537 h 6629400"/>
              <a:gd name="connsiteX110" fmla="*/ 1409835 w 12191999"/>
              <a:gd name="connsiteY110" fmla="*/ 5835281 h 6629400"/>
              <a:gd name="connsiteX111" fmla="*/ 1320560 w 12191999"/>
              <a:gd name="connsiteY111" fmla="*/ 5617131 h 6629400"/>
              <a:gd name="connsiteX112" fmla="*/ 719852 w 12191999"/>
              <a:gd name="connsiteY112" fmla="*/ 5577930 h 6629400"/>
              <a:gd name="connsiteX113" fmla="*/ 460328 w 12191999"/>
              <a:gd name="connsiteY113" fmla="*/ 5801525 h 6629400"/>
              <a:gd name="connsiteX114" fmla="*/ 457197 w 12191999"/>
              <a:gd name="connsiteY114" fmla="*/ 5825328 h 6629400"/>
              <a:gd name="connsiteX115" fmla="*/ 522383 w 12191999"/>
              <a:gd name="connsiteY115" fmla="*/ 5827210 h 6629400"/>
              <a:gd name="connsiteX116" fmla="*/ 774645 w 12191999"/>
              <a:gd name="connsiteY116" fmla="*/ 5582006 h 6629400"/>
              <a:gd name="connsiteX117" fmla="*/ 719852 w 12191999"/>
              <a:gd name="connsiteY117" fmla="*/ 5577930 h 6629400"/>
              <a:gd name="connsiteX118" fmla="*/ 0 w 12191999"/>
              <a:gd name="connsiteY118" fmla="*/ 0 h 6629400"/>
              <a:gd name="connsiteX119" fmla="*/ 12191999 w 12191999"/>
              <a:gd name="connsiteY119" fmla="*/ 0 h 6629400"/>
              <a:gd name="connsiteX120" fmla="*/ 12191999 w 12191999"/>
              <a:gd name="connsiteY120" fmla="*/ 6629400 h 6629400"/>
              <a:gd name="connsiteX121" fmla="*/ 0 w 12191999"/>
              <a:gd name="connsiteY121" fmla="*/ 6629400 h 662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2191999" h="6629400">
                <a:moveTo>
                  <a:pt x="460821" y="5898317"/>
                </a:moveTo>
                <a:cubicBezTo>
                  <a:pt x="481911" y="6011270"/>
                  <a:pt x="572155" y="6098622"/>
                  <a:pt x="685915" y="6116195"/>
                </a:cubicBezTo>
                <a:cubicBezTo>
                  <a:pt x="683003" y="6032711"/>
                  <a:pt x="615220" y="5948620"/>
                  <a:pt x="512601" y="5911907"/>
                </a:cubicBezTo>
                <a:cubicBezTo>
                  <a:pt x="495771" y="5905879"/>
                  <a:pt x="478445" y="5901332"/>
                  <a:pt x="460821" y="5898317"/>
                </a:cubicBezTo>
                <a:close/>
                <a:moveTo>
                  <a:pt x="2464549" y="5870301"/>
                </a:moveTo>
                <a:lnTo>
                  <a:pt x="2557701" y="5870301"/>
                </a:lnTo>
                <a:cubicBezTo>
                  <a:pt x="2565975" y="5870255"/>
                  <a:pt x="2574227" y="5871041"/>
                  <a:pt x="2582355" y="5872643"/>
                </a:cubicBezTo>
                <a:cubicBezTo>
                  <a:pt x="2618969" y="5880755"/>
                  <a:pt x="2633004" y="5909587"/>
                  <a:pt x="2633004" y="5933818"/>
                </a:cubicBezTo>
                <a:cubicBezTo>
                  <a:pt x="2633004" y="5965870"/>
                  <a:pt x="2612371" y="5987614"/>
                  <a:pt x="2581769" y="5994869"/>
                </a:cubicBezTo>
                <a:lnTo>
                  <a:pt x="2581810" y="5994869"/>
                </a:lnTo>
                <a:cubicBezTo>
                  <a:pt x="2571714" y="5996734"/>
                  <a:pt x="2561450" y="5997624"/>
                  <a:pt x="2551185" y="5997524"/>
                </a:cubicBezTo>
                <a:lnTo>
                  <a:pt x="2464549" y="5997524"/>
                </a:lnTo>
                <a:close/>
                <a:moveTo>
                  <a:pt x="1637003" y="5867144"/>
                </a:moveTo>
                <a:cubicBezTo>
                  <a:pt x="1721670" y="5868231"/>
                  <a:pt x="1770916" y="5892839"/>
                  <a:pt x="1770916" y="5936599"/>
                </a:cubicBezTo>
                <a:cubicBezTo>
                  <a:pt x="1770916" y="5975989"/>
                  <a:pt x="1735641" y="5997461"/>
                  <a:pt x="1695528" y="5997461"/>
                </a:cubicBezTo>
                <a:lnTo>
                  <a:pt x="1695528" y="5997398"/>
                </a:lnTo>
                <a:lnTo>
                  <a:pt x="1602441" y="5997398"/>
                </a:lnTo>
                <a:lnTo>
                  <a:pt x="1602441" y="5867771"/>
                </a:lnTo>
                <a:cubicBezTo>
                  <a:pt x="1614234" y="5867270"/>
                  <a:pt x="1625817" y="5867019"/>
                  <a:pt x="1637003" y="5867144"/>
                </a:cubicBezTo>
                <a:close/>
                <a:moveTo>
                  <a:pt x="2901500" y="5806261"/>
                </a:moveTo>
                <a:cubicBezTo>
                  <a:pt x="2949364" y="5806261"/>
                  <a:pt x="2985748" y="5837894"/>
                  <a:pt x="2991111" y="5882762"/>
                </a:cubicBezTo>
                <a:lnTo>
                  <a:pt x="2813042" y="5882762"/>
                </a:lnTo>
                <a:cubicBezTo>
                  <a:pt x="2818445" y="5836598"/>
                  <a:pt x="2855941" y="5806261"/>
                  <a:pt x="2901500" y="5806261"/>
                </a:cubicBezTo>
                <a:close/>
                <a:moveTo>
                  <a:pt x="3059481" y="5747636"/>
                </a:moveTo>
                <a:lnTo>
                  <a:pt x="3187089" y="6068338"/>
                </a:lnTo>
                <a:lnTo>
                  <a:pt x="3256611" y="6068338"/>
                </a:lnTo>
                <a:lnTo>
                  <a:pt x="3383967" y="5747636"/>
                </a:lnTo>
                <a:lnTo>
                  <a:pt x="3303154" y="5747636"/>
                </a:lnTo>
                <a:lnTo>
                  <a:pt x="3222719" y="5976741"/>
                </a:lnTo>
                <a:lnTo>
                  <a:pt x="3141090" y="5747636"/>
                </a:lnTo>
                <a:close/>
                <a:moveTo>
                  <a:pt x="2900809" y="5740778"/>
                </a:moveTo>
                <a:cubicBezTo>
                  <a:pt x="2809356" y="5740778"/>
                  <a:pt x="2738282" y="5814226"/>
                  <a:pt x="2738282" y="5910234"/>
                </a:cubicBezTo>
                <a:cubicBezTo>
                  <a:pt x="2738282" y="5998840"/>
                  <a:pt x="2808266" y="6075195"/>
                  <a:pt x="2904013" y="6075195"/>
                </a:cubicBezTo>
                <a:cubicBezTo>
                  <a:pt x="2973955" y="6075195"/>
                  <a:pt x="3028123" y="6035032"/>
                  <a:pt x="3055794" y="5969946"/>
                </a:cubicBezTo>
                <a:lnTo>
                  <a:pt x="2979192" y="5969946"/>
                </a:lnTo>
                <a:cubicBezTo>
                  <a:pt x="2961932" y="5995725"/>
                  <a:pt x="2938805" y="6009671"/>
                  <a:pt x="2905292" y="6009671"/>
                </a:cubicBezTo>
                <a:cubicBezTo>
                  <a:pt x="2855376" y="6009671"/>
                  <a:pt x="2822720" y="5980400"/>
                  <a:pt x="2812812" y="5935281"/>
                </a:cubicBezTo>
                <a:lnTo>
                  <a:pt x="3063565" y="5935281"/>
                </a:lnTo>
                <a:cubicBezTo>
                  <a:pt x="3065325" y="5925227"/>
                  <a:pt x="3066099" y="5915024"/>
                  <a:pt x="3065848" y="5904819"/>
                </a:cubicBezTo>
                <a:cubicBezTo>
                  <a:pt x="3065074" y="5818638"/>
                  <a:pt x="2998819" y="5740778"/>
                  <a:pt x="2900809" y="5740778"/>
                </a:cubicBezTo>
                <a:close/>
                <a:moveTo>
                  <a:pt x="2208349" y="5740778"/>
                </a:moveTo>
                <a:cubicBezTo>
                  <a:pt x="2169408" y="5740778"/>
                  <a:pt x="2132145" y="5755413"/>
                  <a:pt x="2108099" y="5794573"/>
                </a:cubicBezTo>
                <a:lnTo>
                  <a:pt x="2108099" y="5747636"/>
                </a:lnTo>
                <a:lnTo>
                  <a:pt x="2037632" y="5747636"/>
                </a:lnTo>
                <a:lnTo>
                  <a:pt x="2037632" y="6068337"/>
                </a:lnTo>
                <a:lnTo>
                  <a:pt x="2113041" y="6068337"/>
                </a:lnTo>
                <a:lnTo>
                  <a:pt x="2113041" y="5898463"/>
                </a:lnTo>
                <a:cubicBezTo>
                  <a:pt x="2112850" y="5886596"/>
                  <a:pt x="2114036" y="5874746"/>
                  <a:pt x="2116581" y="5863150"/>
                </a:cubicBezTo>
                <a:cubicBezTo>
                  <a:pt x="2125253" y="5828569"/>
                  <a:pt x="2149950" y="5808477"/>
                  <a:pt x="2186293" y="5808477"/>
                </a:cubicBezTo>
                <a:cubicBezTo>
                  <a:pt x="2223850" y="5808477"/>
                  <a:pt x="2245488" y="5827294"/>
                  <a:pt x="2252442" y="5864739"/>
                </a:cubicBezTo>
                <a:cubicBezTo>
                  <a:pt x="2254209" y="5875870"/>
                  <a:pt x="2255036" y="5887131"/>
                  <a:pt x="2254915" y="5898400"/>
                </a:cubicBezTo>
                <a:lnTo>
                  <a:pt x="2254915" y="6068337"/>
                </a:lnTo>
                <a:lnTo>
                  <a:pt x="2330323" y="6068337"/>
                </a:lnTo>
                <a:lnTo>
                  <a:pt x="2330323" y="5878559"/>
                </a:lnTo>
                <a:cubicBezTo>
                  <a:pt x="2330323" y="5857254"/>
                  <a:pt x="2328228" y="5838019"/>
                  <a:pt x="2323200" y="5821586"/>
                </a:cubicBezTo>
                <a:cubicBezTo>
                  <a:pt x="2306800" y="5767080"/>
                  <a:pt x="2263062" y="5740778"/>
                  <a:pt x="2208349" y="5740778"/>
                </a:cubicBezTo>
                <a:close/>
                <a:moveTo>
                  <a:pt x="1283861" y="5706344"/>
                </a:moveTo>
                <a:lnTo>
                  <a:pt x="1342282" y="5861917"/>
                </a:lnTo>
                <a:cubicBezTo>
                  <a:pt x="1281725" y="5889620"/>
                  <a:pt x="1227849" y="5925121"/>
                  <a:pt x="1183317" y="5965849"/>
                </a:cubicBezTo>
                <a:lnTo>
                  <a:pt x="1183317" y="5965807"/>
                </a:lnTo>
                <a:close/>
                <a:moveTo>
                  <a:pt x="2464508" y="5687966"/>
                </a:moveTo>
                <a:lnTo>
                  <a:pt x="2533967" y="5687966"/>
                </a:lnTo>
                <a:cubicBezTo>
                  <a:pt x="2549803" y="5687966"/>
                  <a:pt x="2566645" y="5690057"/>
                  <a:pt x="2577453" y="5695116"/>
                </a:cubicBezTo>
                <a:cubicBezTo>
                  <a:pt x="2596306" y="5703793"/>
                  <a:pt x="2606465" y="5719996"/>
                  <a:pt x="2606465" y="5744333"/>
                </a:cubicBezTo>
                <a:cubicBezTo>
                  <a:pt x="2606465" y="5768669"/>
                  <a:pt x="2595634" y="5785521"/>
                  <a:pt x="2576426" y="5794156"/>
                </a:cubicBezTo>
                <a:cubicBezTo>
                  <a:pt x="2566812" y="5798463"/>
                  <a:pt x="2552777" y="5800742"/>
                  <a:pt x="2536627" y="5800742"/>
                </a:cubicBezTo>
                <a:lnTo>
                  <a:pt x="2464549" y="5800742"/>
                </a:lnTo>
                <a:close/>
                <a:moveTo>
                  <a:pt x="1602441" y="5687966"/>
                </a:moveTo>
                <a:lnTo>
                  <a:pt x="1668821" y="5687966"/>
                </a:lnTo>
                <a:cubicBezTo>
                  <a:pt x="1683987" y="5687966"/>
                  <a:pt x="1696701" y="5689680"/>
                  <a:pt x="1705415" y="5692524"/>
                </a:cubicBezTo>
                <a:cubicBezTo>
                  <a:pt x="1730551" y="5700740"/>
                  <a:pt x="1744397" y="5719704"/>
                  <a:pt x="1744397" y="5750271"/>
                </a:cubicBezTo>
                <a:cubicBezTo>
                  <a:pt x="1744397" y="5778579"/>
                  <a:pt x="1730111" y="5797187"/>
                  <a:pt x="1707447" y="5805738"/>
                </a:cubicBezTo>
                <a:cubicBezTo>
                  <a:pt x="1683455" y="5801825"/>
                  <a:pt x="1659177" y="5799922"/>
                  <a:pt x="1634866" y="5800052"/>
                </a:cubicBezTo>
                <a:cubicBezTo>
                  <a:pt x="1624770" y="5800052"/>
                  <a:pt x="1613668" y="5800198"/>
                  <a:pt x="1602441" y="5800553"/>
                </a:cubicBezTo>
                <a:close/>
                <a:moveTo>
                  <a:pt x="906484" y="5645042"/>
                </a:moveTo>
                <a:cubicBezTo>
                  <a:pt x="801931" y="5693621"/>
                  <a:pt x="733081" y="5796162"/>
                  <a:pt x="727808" y="5911154"/>
                </a:cubicBezTo>
                <a:cubicBezTo>
                  <a:pt x="724373" y="5983394"/>
                  <a:pt x="746531" y="6054536"/>
                  <a:pt x="790397" y="6112097"/>
                </a:cubicBezTo>
                <a:cubicBezTo>
                  <a:pt x="936197" y="6077367"/>
                  <a:pt x="1026185" y="5931242"/>
                  <a:pt x="991392" y="5785714"/>
                </a:cubicBezTo>
                <a:cubicBezTo>
                  <a:pt x="978355" y="5731184"/>
                  <a:pt x="948688" y="5682034"/>
                  <a:pt x="906484" y="5645042"/>
                </a:cubicBezTo>
                <a:close/>
                <a:moveTo>
                  <a:pt x="2387172" y="5617152"/>
                </a:moveTo>
                <a:lnTo>
                  <a:pt x="2387172" y="6068338"/>
                </a:lnTo>
                <a:lnTo>
                  <a:pt x="2547206" y="6068338"/>
                </a:lnTo>
                <a:cubicBezTo>
                  <a:pt x="2578395" y="6068338"/>
                  <a:pt x="2599301" y="6065369"/>
                  <a:pt x="2619786" y="6058156"/>
                </a:cubicBezTo>
                <a:cubicBezTo>
                  <a:pt x="2673411" y="6039339"/>
                  <a:pt x="2710381" y="5997712"/>
                  <a:pt x="2710381" y="5936725"/>
                </a:cubicBezTo>
                <a:cubicBezTo>
                  <a:pt x="2710381" y="5885815"/>
                  <a:pt x="2686145" y="5849624"/>
                  <a:pt x="2640462" y="5827190"/>
                </a:cubicBezTo>
                <a:cubicBezTo>
                  <a:pt x="2671044" y="5803752"/>
                  <a:pt x="2683905" y="5776865"/>
                  <a:pt x="2683905" y="5738458"/>
                </a:cubicBezTo>
                <a:cubicBezTo>
                  <a:pt x="2683905" y="5680962"/>
                  <a:pt x="2648296" y="5637871"/>
                  <a:pt x="2593833" y="5623173"/>
                </a:cubicBezTo>
                <a:cubicBezTo>
                  <a:pt x="2579716" y="5619389"/>
                  <a:pt x="2556779" y="5617152"/>
                  <a:pt x="2530072" y="5617152"/>
                </a:cubicBezTo>
                <a:close/>
                <a:moveTo>
                  <a:pt x="1894021" y="5617152"/>
                </a:moveTo>
                <a:lnTo>
                  <a:pt x="1894021" y="6068338"/>
                </a:lnTo>
                <a:lnTo>
                  <a:pt x="1972236" y="6068338"/>
                </a:lnTo>
                <a:lnTo>
                  <a:pt x="1972236" y="5617152"/>
                </a:lnTo>
                <a:close/>
                <a:moveTo>
                  <a:pt x="1248775" y="5617131"/>
                </a:moveTo>
                <a:lnTo>
                  <a:pt x="1064297" y="6068338"/>
                </a:lnTo>
                <a:lnTo>
                  <a:pt x="1139559" y="6068338"/>
                </a:lnTo>
                <a:cubicBezTo>
                  <a:pt x="1204620" y="5999698"/>
                  <a:pt x="1282269" y="5950440"/>
                  <a:pt x="1363124" y="5917803"/>
                </a:cubicBezTo>
                <a:lnTo>
                  <a:pt x="1419680" y="6068338"/>
                </a:lnTo>
                <a:lnTo>
                  <a:pt x="1505038" y="6068338"/>
                </a:lnTo>
                <a:lnTo>
                  <a:pt x="1433589" y="5893529"/>
                </a:lnTo>
                <a:cubicBezTo>
                  <a:pt x="1463608" y="5885008"/>
                  <a:pt x="1494158" y="5878478"/>
                  <a:pt x="1525042" y="5873981"/>
                </a:cubicBezTo>
                <a:lnTo>
                  <a:pt x="1525042" y="6068275"/>
                </a:lnTo>
                <a:lnTo>
                  <a:pt x="1563878" y="6068275"/>
                </a:lnTo>
                <a:lnTo>
                  <a:pt x="1700283" y="6068275"/>
                </a:lnTo>
                <a:cubicBezTo>
                  <a:pt x="1796638" y="6068275"/>
                  <a:pt x="1848377" y="6011825"/>
                  <a:pt x="1848377" y="5936557"/>
                </a:cubicBezTo>
                <a:cubicBezTo>
                  <a:pt x="1848377" y="5891104"/>
                  <a:pt x="1825733" y="5852321"/>
                  <a:pt x="1777661" y="5827817"/>
                </a:cubicBezTo>
                <a:cubicBezTo>
                  <a:pt x="1810254" y="5804024"/>
                  <a:pt x="1821775" y="5768460"/>
                  <a:pt x="1821775" y="5738458"/>
                </a:cubicBezTo>
                <a:cubicBezTo>
                  <a:pt x="1821775" y="5680962"/>
                  <a:pt x="1786165" y="5637871"/>
                  <a:pt x="1731703" y="5623173"/>
                </a:cubicBezTo>
                <a:cubicBezTo>
                  <a:pt x="1717585" y="5619389"/>
                  <a:pt x="1694648" y="5617152"/>
                  <a:pt x="1667941" y="5617152"/>
                </a:cubicBezTo>
                <a:lnTo>
                  <a:pt x="1525042" y="5617152"/>
                </a:lnTo>
                <a:lnTo>
                  <a:pt x="1525042" y="5807537"/>
                </a:lnTo>
                <a:cubicBezTo>
                  <a:pt x="1485912" y="5813460"/>
                  <a:pt x="1447368" y="5822743"/>
                  <a:pt x="1409835" y="5835281"/>
                </a:cubicBezTo>
                <a:lnTo>
                  <a:pt x="1320560" y="5617131"/>
                </a:lnTo>
                <a:close/>
                <a:moveTo>
                  <a:pt x="719852" y="5577930"/>
                </a:moveTo>
                <a:cubicBezTo>
                  <a:pt x="593728" y="5581326"/>
                  <a:pt x="483134" y="5672678"/>
                  <a:pt x="460328" y="5801525"/>
                </a:cubicBezTo>
                <a:cubicBezTo>
                  <a:pt x="458932" y="5809409"/>
                  <a:pt x="457887" y="5817352"/>
                  <a:pt x="457197" y="5825328"/>
                </a:cubicBezTo>
                <a:cubicBezTo>
                  <a:pt x="478780" y="5828466"/>
                  <a:pt x="500655" y="5829098"/>
                  <a:pt x="522383" y="5827210"/>
                </a:cubicBezTo>
                <a:cubicBezTo>
                  <a:pt x="657825" y="5815418"/>
                  <a:pt x="762077" y="5710086"/>
                  <a:pt x="774645" y="5582006"/>
                </a:cubicBezTo>
                <a:cubicBezTo>
                  <a:pt x="756204" y="5578754"/>
                  <a:pt x="737870" y="5577444"/>
                  <a:pt x="719852" y="5577930"/>
                </a:cubicBezTo>
                <a:close/>
                <a:moveTo>
                  <a:pt x="0" y="0"/>
                </a:moveTo>
                <a:lnTo>
                  <a:pt x="12191999" y="0"/>
                </a:lnTo>
                <a:lnTo>
                  <a:pt x="12191999" y="6629400"/>
                </a:lnTo>
                <a:lnTo>
                  <a:pt x="0" y="6629400"/>
                </a:lnTo>
                <a:close/>
              </a:path>
            </a:pathLst>
          </a:custGeom>
          <a:pattFill prst="pct25">
            <a:fgClr>
              <a:schemeClr val="tx1"/>
            </a:fgClr>
            <a:bgClr>
              <a:schemeClr val="bg1"/>
            </a:bgClr>
          </a:pattFill>
        </p:spPr>
        <p:txBody>
          <a:bodyPr wrap="square" anchor="ctr">
            <a:noAutofit/>
          </a:bodyPr>
          <a:lstStyle>
            <a:lvl1pPr>
              <a:spcAft>
                <a:spcPts val="0"/>
              </a:spcAft>
              <a:defRPr sz="1200"/>
            </a:lvl1pPr>
          </a:lstStyle>
          <a:p>
            <a:r>
              <a:rPr lang="en-US"/>
              <a:t>                                                                                                                                                                                                Insert background image here</a:t>
            </a:r>
          </a:p>
        </p:txBody>
      </p:sp>
      <p:sp>
        <p:nvSpPr>
          <p:cNvPr id="3" name="Text Placeholder 2">
            <a:extLst>
              <a:ext uri="{FF2B5EF4-FFF2-40B4-BE49-F238E27FC236}">
                <a16:creationId xmlns:a16="http://schemas.microsoft.com/office/drawing/2014/main" id="{63E281CD-A54D-3442-B2F6-DCC90535935E}"/>
              </a:ext>
            </a:extLst>
          </p:cNvPr>
          <p:cNvSpPr>
            <a:spLocks noGrp="1"/>
          </p:cNvSpPr>
          <p:nvPr>
            <p:ph type="body" sz="quarter" idx="11" hasCustomPrompt="1"/>
          </p:nvPr>
        </p:nvSpPr>
        <p:spPr>
          <a:xfrm>
            <a:off x="457200" y="652584"/>
            <a:ext cx="6204930" cy="184944"/>
          </a:xfrm>
        </p:spPr>
        <p:txBody>
          <a:bodyPr rIns="0" anchor="b"/>
          <a:lstStyle>
            <a:lvl1pPr algn="l">
              <a:defRPr lang="en-US" sz="1200" b="1" kern="1200" baseline="0" dirty="0" smtClean="0">
                <a:solidFill>
                  <a:schemeClr val="bg1"/>
                </a:solidFill>
                <a:latin typeface="Arial" panose="020B0604020202020204" pitchFamily="34" charset="0"/>
                <a:ea typeface="+mn-ea"/>
                <a:cs typeface="Arial" panose="020B0604020202020204" pitchFamily="34" charset="0"/>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Subtitle Goes Here</a:t>
            </a:r>
          </a:p>
        </p:txBody>
      </p:sp>
      <p:sp>
        <p:nvSpPr>
          <p:cNvPr id="13" name="Text Placeholder 2">
            <a:extLst>
              <a:ext uri="{FF2B5EF4-FFF2-40B4-BE49-F238E27FC236}">
                <a16:creationId xmlns:a16="http://schemas.microsoft.com/office/drawing/2014/main" id="{F444DE9C-F571-BB4C-9C1C-7332F4140BF6}"/>
              </a:ext>
            </a:extLst>
          </p:cNvPr>
          <p:cNvSpPr>
            <a:spLocks noGrp="1"/>
          </p:cNvSpPr>
          <p:nvPr>
            <p:ph type="body" sz="quarter" idx="12" hasCustomPrompt="1"/>
          </p:nvPr>
        </p:nvSpPr>
        <p:spPr>
          <a:xfrm>
            <a:off x="457201" y="830815"/>
            <a:ext cx="6204928" cy="184944"/>
          </a:xfrm>
        </p:spPr>
        <p:txBody>
          <a:bodyPr rIns="0" anchor="b"/>
          <a:lstStyle>
            <a:lvl1pPr algn="l">
              <a:defRPr lang="en-US" sz="1200" b="0" kern="1200" baseline="0" dirty="0">
                <a:solidFill>
                  <a:schemeClr val="bg1"/>
                </a:solidFill>
                <a:latin typeface="+mn-lt"/>
                <a:ea typeface="+mn-ea"/>
                <a:cs typeface="+mn-cs"/>
              </a:defRPr>
            </a:lvl1pPr>
            <a:lvl2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1200"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1200"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a:t>00.00.0000</a:t>
            </a:r>
          </a:p>
        </p:txBody>
      </p:sp>
      <p:sp>
        <p:nvSpPr>
          <p:cNvPr id="4" name="Text Placeholder 3">
            <a:extLst>
              <a:ext uri="{FF2B5EF4-FFF2-40B4-BE49-F238E27FC236}">
                <a16:creationId xmlns:a16="http://schemas.microsoft.com/office/drawing/2014/main" id="{4C1B3CE5-5669-E845-98B1-856DE736BC17}"/>
              </a:ext>
            </a:extLst>
          </p:cNvPr>
          <p:cNvSpPr>
            <a:spLocks noGrp="1"/>
          </p:cNvSpPr>
          <p:nvPr>
            <p:ph type="body" sz="quarter" idx="10" hasCustomPrompt="1"/>
          </p:nvPr>
        </p:nvSpPr>
        <p:spPr>
          <a:xfrm>
            <a:off x="457200" y="2353235"/>
            <a:ext cx="6204930" cy="2097587"/>
          </a:xfrm>
        </p:spPr>
        <p:txBody>
          <a:bodyPr rIns="0" anchor="b"/>
          <a:lstStyle>
            <a:lvl1pPr algn="l">
              <a:lnSpc>
                <a:spcPct val="80000"/>
              </a:lnSpc>
              <a:defRPr kumimoji="0" lang="en-US" sz="5600" b="1" i="0" u="none" strike="noStrike" kern="1200" cap="none" spc="0" normalizeH="0" baseline="0" dirty="0">
                <a:ln>
                  <a:noFill/>
                </a:ln>
                <a:solidFill>
                  <a:schemeClr val="bg1"/>
                </a:solidFill>
                <a:effectLst/>
                <a:uLnTx/>
                <a:uFillTx/>
                <a:latin typeface="Arial" panose="020B0604020202020204"/>
                <a:ea typeface="+mj-ea"/>
                <a:cs typeface="Arial" panose="020B0604020202020204" pitchFamily="34" charset="0"/>
              </a:defRPr>
            </a:lvl1pPr>
          </a:lstStyle>
          <a:p>
            <a:pPr lvl="0"/>
            <a:r>
              <a:rPr lang="en-US"/>
              <a:t>Two or Three-Line Presentation Title Goes Here</a:t>
            </a:r>
          </a:p>
        </p:txBody>
      </p:sp>
      <p:sp>
        <p:nvSpPr>
          <p:cNvPr id="9" name="Rectangle 8">
            <a:extLst>
              <a:ext uri="{FF2B5EF4-FFF2-40B4-BE49-F238E27FC236}">
                <a16:creationId xmlns:a16="http://schemas.microsoft.com/office/drawing/2014/main" id="{D1E3779A-984C-E740-9DAC-1101DA3886FD}"/>
              </a:ext>
            </a:extLst>
          </p:cNvPr>
          <p:cNvSpPr/>
          <p:nvPr userDrawn="1"/>
        </p:nvSpPr>
        <p:spPr>
          <a:xfrm>
            <a:off x="0" y="0"/>
            <a:ext cx="12192000" cy="236837"/>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CAE2584F-816B-764D-8511-C8F9AD1931F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199" y="5805378"/>
            <a:ext cx="2926265" cy="539416"/>
          </a:xfrm>
          <a:prstGeom prst="rect">
            <a:avLst/>
          </a:prstGeom>
        </p:spPr>
      </p:pic>
    </p:spTree>
    <p:extLst>
      <p:ext uri="{BB962C8B-B14F-4D97-AF65-F5344CB8AC3E}">
        <p14:creationId xmlns:p14="http://schemas.microsoft.com/office/powerpoint/2010/main" val="42119730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651D8C1-2B1B-46E1-5B5C-4AE84175D57E}"/>
              </a:ext>
            </a:extLst>
          </p:cNvPr>
          <p:cNvGraphicFramePr>
            <a:graphicFrameLocks noChangeAspect="1"/>
          </p:cNvGraphicFramePr>
          <p:nvPr userDrawn="1">
            <p:custDataLst>
              <p:tags r:id="rId41"/>
            </p:custDataLst>
            <p:extLst>
              <p:ext uri="{D42A27DB-BD31-4B8C-83A1-F6EECF244321}">
                <p14:modId xmlns:p14="http://schemas.microsoft.com/office/powerpoint/2010/main" val="4067559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95" imgH="396" progId="TCLayout.ActiveDocument.1">
                  <p:embed/>
                </p:oleObj>
              </mc:Choice>
              <mc:Fallback>
                <p:oleObj name="think-cell Slide" r:id="rId42" imgW="395" imgH="396" progId="TCLayout.ActiveDocument.1">
                  <p:embed/>
                  <p:pic>
                    <p:nvPicPr>
                      <p:cNvPr id="5" name="think-cell data - do not delete" hidden="1">
                        <a:extLst>
                          <a:ext uri="{FF2B5EF4-FFF2-40B4-BE49-F238E27FC236}">
                            <a16:creationId xmlns:a16="http://schemas.microsoft.com/office/drawing/2014/main" id="{5651D8C1-2B1B-46E1-5B5C-4AE84175D57E}"/>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06696A-2614-174D-B7E6-C777DDB95841}"/>
              </a:ext>
            </a:extLst>
          </p:cNvPr>
          <p:cNvSpPr>
            <a:spLocks noGrp="1"/>
          </p:cNvSpPr>
          <p:nvPr>
            <p:ph type="sldNum" sz="quarter" idx="4"/>
          </p:nvPr>
        </p:nvSpPr>
        <p:spPr>
          <a:xfrm>
            <a:off x="11434123" y="6260305"/>
            <a:ext cx="529428" cy="365125"/>
          </a:xfrm>
          <a:prstGeom prst="rect">
            <a:avLst/>
          </a:prstGeom>
        </p:spPr>
        <p:txBody>
          <a:bodyPr vert="horz" lIns="91440" tIns="45720" rIns="91440" bIns="45720" rtlCol="0" anchor="ctr"/>
          <a:lstStyle>
            <a:lvl1pPr algn="r">
              <a:defRPr lang="en-US" sz="1200" kern="1200" smtClean="0">
                <a:solidFill>
                  <a:schemeClr val="tx1"/>
                </a:solidFill>
                <a:latin typeface="Arial" panose="020B0604020202020204" pitchFamily="34" charset="0"/>
                <a:ea typeface="+mn-ea"/>
                <a:cs typeface="Arial" panose="020B0604020202020204" pitchFamily="34" charset="0"/>
              </a:defRPr>
            </a:lvl1pPr>
          </a:lstStyle>
          <a:p>
            <a:fld id="{99E61589-955B-3549-AD19-CD847E0672FB}" type="slidenum">
              <a:rPr lang="en-US" smtClean="0"/>
              <a:pPr/>
              <a:t>‹#›</a:t>
            </a:fld>
            <a:endParaRPr lang="en-US"/>
          </a:p>
        </p:txBody>
      </p:sp>
      <p:sp>
        <p:nvSpPr>
          <p:cNvPr id="2" name="Title Placeholder 1">
            <a:extLst>
              <a:ext uri="{FF2B5EF4-FFF2-40B4-BE49-F238E27FC236}">
                <a16:creationId xmlns:a16="http://schemas.microsoft.com/office/drawing/2014/main" id="{37178CD3-4E55-BF44-AB50-E277C0544941}"/>
              </a:ext>
            </a:extLst>
          </p:cNvPr>
          <p:cNvSpPr>
            <a:spLocks noGrp="1"/>
          </p:cNvSpPr>
          <p:nvPr>
            <p:ph type="title"/>
          </p:nvPr>
        </p:nvSpPr>
        <p:spPr>
          <a:xfrm>
            <a:off x="315913" y="681039"/>
            <a:ext cx="11418886" cy="801442"/>
          </a:xfrm>
          <a:prstGeom prst="rect">
            <a:avLst/>
          </a:prstGeom>
        </p:spPr>
        <p:txBody>
          <a:bodyPr vert="horz" lIns="0" tIns="0" rIns="9144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3" name="Text Placeholder 2">
            <a:extLst>
              <a:ext uri="{FF2B5EF4-FFF2-40B4-BE49-F238E27FC236}">
                <a16:creationId xmlns:a16="http://schemas.microsoft.com/office/drawing/2014/main" id="{120ABEFD-A0EC-D24C-A285-5F2DEC7ED000}"/>
              </a:ext>
            </a:extLst>
          </p:cNvPr>
          <p:cNvSpPr>
            <a:spLocks noGrp="1"/>
          </p:cNvSpPr>
          <p:nvPr>
            <p:ph type="body" idx="1"/>
          </p:nvPr>
        </p:nvSpPr>
        <p:spPr>
          <a:xfrm>
            <a:off x="315913" y="2091021"/>
            <a:ext cx="11418886" cy="3776380"/>
          </a:xfrm>
          <a:prstGeom prst="rect">
            <a:avLst/>
          </a:prstGeom>
        </p:spPr>
        <p:txBody>
          <a:bodyPr vert="horz" lIns="0" tIns="0" rIns="9144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66265436"/>
      </p:ext>
    </p:extLst>
  </p:cSld>
  <p:clrMap bg1="lt1" tx1="dk1" bg2="lt2" tx2="dk2" accent1="accent1" accent2="accent2" accent3="accent3" accent4="accent4" accent5="accent5" accent6="accent6" hlink="hlink" folHlink="folHlink"/>
  <p:sldLayoutIdLst>
    <p:sldLayoutId id="2147485038" r:id="rId1"/>
    <p:sldLayoutId id="2147485039" r:id="rId2"/>
    <p:sldLayoutId id="2147485040" r:id="rId3"/>
    <p:sldLayoutId id="2147485041" r:id="rId4"/>
    <p:sldLayoutId id="2147485042" r:id="rId5"/>
    <p:sldLayoutId id="2147485043" r:id="rId6"/>
    <p:sldLayoutId id="2147485044" r:id="rId7"/>
    <p:sldLayoutId id="2147485045" r:id="rId8"/>
    <p:sldLayoutId id="2147485046" r:id="rId9"/>
    <p:sldLayoutId id="2147485047" r:id="rId10"/>
    <p:sldLayoutId id="2147485048" r:id="rId11"/>
    <p:sldLayoutId id="2147485049" r:id="rId12"/>
    <p:sldLayoutId id="2147485050" r:id="rId13"/>
    <p:sldLayoutId id="2147485051" r:id="rId14"/>
    <p:sldLayoutId id="2147485052" r:id="rId15"/>
    <p:sldLayoutId id="2147485053" r:id="rId16"/>
    <p:sldLayoutId id="2147485054" r:id="rId17"/>
    <p:sldLayoutId id="2147485055" r:id="rId18"/>
    <p:sldLayoutId id="2147485056" r:id="rId19"/>
    <p:sldLayoutId id="2147485057" r:id="rId20"/>
    <p:sldLayoutId id="2147485058" r:id="rId21"/>
    <p:sldLayoutId id="2147485059" r:id="rId22"/>
    <p:sldLayoutId id="2147485060" r:id="rId23"/>
    <p:sldLayoutId id="2147485061" r:id="rId24"/>
    <p:sldLayoutId id="2147485062" r:id="rId25"/>
    <p:sldLayoutId id="2147485063" r:id="rId26"/>
    <p:sldLayoutId id="2147485064" r:id="rId27"/>
    <p:sldLayoutId id="2147485065" r:id="rId28"/>
    <p:sldLayoutId id="2147485066" r:id="rId29"/>
    <p:sldLayoutId id="2147485067" r:id="rId30"/>
    <p:sldLayoutId id="2147485068" r:id="rId31"/>
    <p:sldLayoutId id="2147485069" r:id="rId32"/>
    <p:sldLayoutId id="2147485070" r:id="rId33"/>
    <p:sldLayoutId id="2147485071" r:id="rId34"/>
    <p:sldLayoutId id="2147485072" r:id="rId35"/>
    <p:sldLayoutId id="2147485073" r:id="rId36"/>
    <p:sldLayoutId id="2147485074" r:id="rId37"/>
    <p:sldLayoutId id="2147485075" r:id="rId38"/>
    <p:sldLayoutId id="2147485076" r:id="rId39"/>
  </p:sldLayoutIdLst>
  <p:hf hdr="0" ftr="0" dt="0"/>
  <p:txStyles>
    <p:titleStyle>
      <a:lvl1pPr algn="l" defTabSz="914400" rtl="0" eaLnBrk="1" latinLnBrk="0" hangingPunct="1">
        <a:lnSpc>
          <a:spcPct val="90000"/>
        </a:lnSpc>
        <a:spcBef>
          <a:spcPct val="0"/>
        </a:spcBef>
        <a:buNone/>
        <a:defRPr kumimoji="0" lang="en-US" sz="28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lang="en-US" sz="2400" b="0" kern="1200" baseline="0" dirty="0">
          <a:solidFill>
            <a:srgbClr val="000000"/>
          </a:solidFill>
          <a:latin typeface="+mn-lt"/>
          <a:ea typeface="+mn-ea"/>
          <a:cs typeface="+mn-cs"/>
        </a:defRPr>
      </a:lvl1pPr>
      <a:lvl2pPr marL="228600" indent="-228600" algn="l" defTabSz="914400" rtl="0" eaLnBrk="1" latinLnBrk="0" hangingPunct="1">
        <a:lnSpc>
          <a:spcPct val="100000"/>
        </a:lnSpc>
        <a:spcBef>
          <a:spcPts val="0"/>
        </a:spcBef>
        <a:spcAft>
          <a:spcPts val="1200"/>
        </a:spcAft>
        <a:buClr>
          <a:schemeClr val="accent2"/>
        </a:buClr>
        <a:buFont typeface="Arial" panose="020B0604020202020204" pitchFamily="34" charset="0"/>
        <a:buChar char="•"/>
        <a:defRPr lang="en-US" sz="2100" kern="1200" dirty="0">
          <a:solidFill>
            <a:srgbClr val="000000"/>
          </a:solidFill>
          <a:latin typeface="+mn-lt"/>
          <a:ea typeface="+mn-ea"/>
          <a:cs typeface="+mn-cs"/>
        </a:defRPr>
      </a:lvl2pPr>
      <a:lvl3pPr marL="685800" indent="-228600" algn="l" defTabSz="914400" rtl="0" eaLnBrk="1" latinLnBrk="0" hangingPunct="1">
        <a:lnSpc>
          <a:spcPct val="100000"/>
        </a:lnSpc>
        <a:spcBef>
          <a:spcPts val="0"/>
        </a:spcBef>
        <a:spcAft>
          <a:spcPts val="1200"/>
        </a:spcAft>
        <a:buClr>
          <a:schemeClr val="accent2"/>
        </a:buClr>
        <a:buFont typeface="System Font Regular"/>
        <a:buChar char="⎻"/>
        <a:defRPr lang="en-US" sz="1800" kern="1200" dirty="0">
          <a:solidFill>
            <a:srgbClr val="000000"/>
          </a:solidFill>
          <a:latin typeface="+mn-lt"/>
          <a:ea typeface="+mn-ea"/>
          <a:cs typeface="+mn-cs"/>
        </a:defRPr>
      </a:lvl3pPr>
      <a:lvl4pPr marL="1143000" indent="-228600" algn="l" defTabSz="914400" rtl="0" eaLnBrk="1" latinLnBrk="0" hangingPunct="1">
        <a:lnSpc>
          <a:spcPct val="100000"/>
        </a:lnSpc>
        <a:spcBef>
          <a:spcPts val="0"/>
        </a:spcBef>
        <a:spcAft>
          <a:spcPts val="1200"/>
        </a:spcAft>
        <a:buClr>
          <a:schemeClr val="accent2"/>
        </a:buClr>
        <a:buFont typeface="Wingdings" pitchFamily="2" charset="2"/>
        <a:buChar char="§"/>
        <a:defRPr lang="en-US" sz="1500" kern="1200" dirty="0">
          <a:solidFill>
            <a:srgbClr val="00000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480">
          <p15:clr>
            <a:srgbClr val="F26B43"/>
          </p15:clr>
        </p15:guide>
        <p15:guide id="4" orient="horz" pos="3816">
          <p15:clr>
            <a:srgbClr val="F26B43"/>
          </p15:clr>
        </p15:guide>
        <p15:guide id="5" pos="240">
          <p15:clr>
            <a:srgbClr val="F26B43"/>
          </p15:clr>
        </p15:guide>
        <p15:guide id="7" pos="7296">
          <p15:clr>
            <a:srgbClr val="F26B43"/>
          </p15:clr>
        </p15:guide>
        <p15:guide id="8" pos="3120">
          <p15:clr>
            <a:srgbClr val="F26B43"/>
          </p15:clr>
        </p15:guide>
        <p15:guide id="9" pos="4560">
          <p15:clr>
            <a:srgbClr val="F26B43"/>
          </p15:clr>
        </p15:guide>
        <p15:guide id="10" orient="horz" pos="16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39.xml"/><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3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4.png"/><Relationship Id="rId7" Type="http://schemas.openxmlformats.org/officeDocument/2006/relationships/slide" Target="slide4.xml"/><Relationship Id="rId2" Type="http://schemas.openxmlformats.org/officeDocument/2006/relationships/image" Target="../media/image18.jpeg"/><Relationship Id="rId1" Type="http://schemas.openxmlformats.org/officeDocument/2006/relationships/slideLayout" Target="../slideLayouts/slideLayout3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39.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50.png"/><Relationship Id="rId2" Type="http://schemas.openxmlformats.org/officeDocument/2006/relationships/image" Target="../media/image37.png"/><Relationship Id="rId1" Type="http://schemas.openxmlformats.org/officeDocument/2006/relationships/slideLayout" Target="../slideLayouts/slideLayout39.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9.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39.xml"/><Relationship Id="rId6" Type="http://schemas.microsoft.com/office/2014/relationships/chartEx" Target="../charts/chartEx1.xml"/><Relationship Id="rId5" Type="http://schemas.openxmlformats.org/officeDocument/2006/relationships/image" Target="../media/image44.png"/><Relationship Id="rId4"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B64CF4-463B-4B90-55E5-01729CAB2488}"/>
              </a:ext>
            </a:extLst>
          </p:cNvPr>
          <p:cNvSpPr/>
          <p:nvPr/>
        </p:nvSpPr>
        <p:spPr>
          <a:xfrm>
            <a:off x="10500189" y="143838"/>
            <a:ext cx="1561672" cy="606175"/>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780EF0B3-EC25-BFF6-AFFC-8120BBC3D4E5}"/>
              </a:ext>
            </a:extLst>
          </p:cNvPr>
          <p:cNvSpPr txBox="1"/>
          <p:nvPr/>
        </p:nvSpPr>
        <p:spPr>
          <a:xfrm>
            <a:off x="418250" y="124489"/>
            <a:ext cx="10859785" cy="584775"/>
          </a:xfrm>
          <a:prstGeom prst="rect">
            <a:avLst/>
          </a:prstGeom>
          <a:noFill/>
        </p:spPr>
        <p:txBody>
          <a:bodyPr wrap="square" rtlCol="0">
            <a:spAutoFit/>
          </a:bodyPr>
          <a:lstStyle/>
          <a:p>
            <a:r>
              <a:rPr lang="en-US" sz="3200" b="1" dirty="0">
                <a:solidFill>
                  <a:schemeClr val="accent1">
                    <a:lumMod val="20000"/>
                    <a:lumOff val="80000"/>
                  </a:schemeClr>
                </a:solidFill>
                <a:latin typeface="Aptos" panose="020B0004020202020204" pitchFamily="34" charset="0"/>
              </a:rPr>
              <a:t>JOURNEY</a:t>
            </a:r>
            <a:endParaRPr lang="en-US" sz="4800" b="1" dirty="0">
              <a:latin typeface="Aptos" panose="020B0004020202020204" pitchFamily="34" charset="0"/>
            </a:endParaRPr>
          </a:p>
        </p:txBody>
      </p:sp>
      <p:cxnSp>
        <p:nvCxnSpPr>
          <p:cNvPr id="4" name="Straight Connector 3">
            <a:extLst>
              <a:ext uri="{FF2B5EF4-FFF2-40B4-BE49-F238E27FC236}">
                <a16:creationId xmlns:a16="http://schemas.microsoft.com/office/drawing/2014/main" id="{AE97D858-2543-2756-5716-308E6D0B03FA}"/>
              </a:ext>
            </a:extLst>
          </p:cNvPr>
          <p:cNvCxnSpPr/>
          <p:nvPr/>
        </p:nvCxnSpPr>
        <p:spPr>
          <a:xfrm>
            <a:off x="407998" y="239648"/>
            <a:ext cx="0" cy="457200"/>
          </a:xfrm>
          <a:prstGeom prst="line">
            <a:avLst/>
          </a:prstGeom>
          <a:ln w="57150">
            <a:solidFill>
              <a:srgbClr val="F1D809"/>
            </a:solidFill>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BC7BF112-DB78-1F50-1B96-AB9F9C9B0B13}"/>
              </a:ext>
            </a:extLst>
          </p:cNvPr>
          <p:cNvSpPr txBox="1"/>
          <p:nvPr/>
        </p:nvSpPr>
        <p:spPr>
          <a:xfrm>
            <a:off x="120201" y="1273155"/>
            <a:ext cx="5371081" cy="4862870"/>
          </a:xfrm>
          <a:prstGeom prst="rect">
            <a:avLst/>
          </a:prstGeom>
          <a:noFill/>
        </p:spPr>
        <p:txBody>
          <a:bodyPr wrap="square" rtlCol="0">
            <a:spAutoFit/>
          </a:bodyPr>
          <a:lstStyle/>
          <a:p>
            <a:r>
              <a:rPr lang="en-US" b="1" dirty="0">
                <a:solidFill>
                  <a:srgbClr val="F1D809"/>
                </a:solidFill>
              </a:rPr>
              <a:t>Exploratory Data Analysis (EDA):</a:t>
            </a:r>
          </a:p>
          <a:p>
            <a:endParaRPr lang="en-US" dirty="0">
              <a:solidFill>
                <a:srgbClr val="F1D809"/>
              </a:solidFill>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altLang="en-US" sz="1400" b="0" i="0" u="none" strike="noStrike" cap="none" normalizeH="0" baseline="0" dirty="0">
                <a:ln>
                  <a:noFill/>
                </a:ln>
                <a:solidFill>
                  <a:schemeClr val="bg1"/>
                </a:solidFill>
                <a:effectLst/>
                <a:latin typeface="Arial" panose="020B0604020202020204" pitchFamily="34" charset="0"/>
              </a:rPr>
              <a:t>Conducted extensive analysis to understand the dataset.</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altLang="en-US" sz="1400" b="0" i="0" u="none" strike="noStrike" cap="none" normalizeH="0" baseline="0" dirty="0">
                <a:ln>
                  <a:noFill/>
                </a:ln>
                <a:solidFill>
                  <a:schemeClr val="bg1"/>
                </a:solidFill>
                <a:effectLst/>
                <a:latin typeface="Arial" panose="020B0604020202020204" pitchFamily="34" charset="0"/>
              </a:rPr>
              <a:t>Explored relationships between variables to assess their impact on outcomes.</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b="0" i="0" u="none" strike="noStrike" cap="none" normalizeH="0" baseline="0" dirty="0">
              <a:ln>
                <a:noFill/>
              </a:ln>
              <a:solidFill>
                <a:srgbClr val="F1D809"/>
              </a:solidFill>
              <a:effectLst/>
              <a:latin typeface="Arial" panose="020B0604020202020204" pitchFamily="34" charset="0"/>
            </a:endParaRPr>
          </a:p>
          <a:p>
            <a:pPr marR="0" lvl="0" indent="0" fontAlgn="base">
              <a:lnSpc>
                <a:spcPct val="100000"/>
              </a:lnSpc>
              <a:spcBef>
                <a:spcPct val="0"/>
              </a:spcBef>
              <a:spcAft>
                <a:spcPct val="0"/>
              </a:spcAft>
              <a:buClrTx/>
              <a:buSzTx/>
              <a:tabLst/>
            </a:pPr>
            <a:r>
              <a:rPr lang="en-US" altLang="en-US" b="1" dirty="0">
                <a:solidFill>
                  <a:srgbClr val="F1D809"/>
                </a:solidFill>
              </a:rPr>
              <a:t>Modeling</a:t>
            </a:r>
            <a:r>
              <a:rPr lang="en-US" altLang="en-US" dirty="0">
                <a:solidFill>
                  <a:srgbClr val="F1D809"/>
                </a:solidFill>
              </a:rPr>
              <a:t> </a:t>
            </a:r>
            <a:r>
              <a:rPr lang="en-US" altLang="en-US" b="1" dirty="0">
                <a:solidFill>
                  <a:srgbClr val="F1D809"/>
                </a:solidFill>
              </a:rPr>
              <a:t>Journey</a:t>
            </a:r>
            <a:r>
              <a:rPr lang="en-US" altLang="en-US" dirty="0">
                <a:solidFill>
                  <a:srgbClr val="F1D809"/>
                </a:solidFill>
              </a:rPr>
              <a:t>:</a:t>
            </a:r>
          </a:p>
          <a:p>
            <a:pPr marL="285750" indent="-285750" eaLnBrk="0" fontAlgn="base" hangingPunct="0">
              <a:spcBef>
                <a:spcPct val="0"/>
              </a:spcBef>
              <a:spcAft>
                <a:spcPct val="0"/>
              </a:spcAft>
              <a:buFont typeface="Wingdings" panose="05000000000000000000" pitchFamily="2" charset="2"/>
              <a:buChar char="§"/>
            </a:pPr>
            <a:r>
              <a:rPr lang="en-US" altLang="en-US" sz="1400" dirty="0">
                <a:solidFill>
                  <a:schemeClr val="bg1"/>
                </a:solidFill>
                <a:latin typeface="Arial" panose="020B0604020202020204" pitchFamily="34" charset="0"/>
              </a:rPr>
              <a:t>Started with simple linear models to assess feature </a:t>
            </a:r>
            <a:r>
              <a:rPr lang="en-US" altLang="en-US" sz="1400" err="1">
                <a:solidFill>
                  <a:schemeClr val="bg1"/>
                </a:solidFill>
                <a:latin typeface="Arial" panose="020B0604020202020204" pitchFamily="34" charset="0"/>
              </a:rPr>
              <a:t>Explainability</a:t>
            </a:r>
            <a:r>
              <a:rPr lang="en-US" altLang="en-US" sz="1400" dirty="0">
                <a:solidFill>
                  <a:schemeClr val="bg1"/>
                </a:solidFill>
                <a:latin typeface="Arial" panose="020B0604020202020204" pitchFamily="34" charset="0"/>
              </a:rPr>
              <a:t>.</a:t>
            </a:r>
          </a:p>
          <a:p>
            <a:pPr marL="285750" indent="-285750" eaLnBrk="0" fontAlgn="base" hangingPunct="0">
              <a:spcBef>
                <a:spcPct val="0"/>
              </a:spcBef>
              <a:spcAft>
                <a:spcPct val="0"/>
              </a:spcAft>
              <a:buFont typeface="Wingdings" panose="05000000000000000000" pitchFamily="2" charset="2"/>
              <a:buChar char="§"/>
            </a:pPr>
            <a:r>
              <a:rPr lang="en-US" altLang="en-US" sz="1400" dirty="0">
                <a:solidFill>
                  <a:schemeClr val="bg1"/>
                </a:solidFill>
                <a:latin typeface="Arial" panose="020B0604020202020204" pitchFamily="34" charset="0"/>
              </a:rPr>
              <a:t>Progressed to advanced models like </a:t>
            </a:r>
            <a:r>
              <a:rPr lang="en-US" altLang="en-US" sz="1400" dirty="0" err="1">
                <a:solidFill>
                  <a:schemeClr val="bg1"/>
                </a:solidFill>
                <a:latin typeface="Arial" panose="020B0604020202020204" pitchFamily="34" charset="0"/>
              </a:rPr>
              <a:t>XGBoost</a:t>
            </a:r>
            <a:r>
              <a:rPr lang="en-US" altLang="en-US" sz="1400" dirty="0">
                <a:solidFill>
                  <a:schemeClr val="bg1"/>
                </a:solidFill>
                <a:latin typeface="Arial" panose="020B0604020202020204" pitchFamily="34" charset="0"/>
              </a:rPr>
              <a:t> and Gradient Boosting Machine (</a:t>
            </a:r>
            <a:r>
              <a:rPr lang="en-US" altLang="en-US" sz="1400">
                <a:solidFill>
                  <a:schemeClr val="bg1"/>
                </a:solidFill>
                <a:latin typeface="Arial" panose="020B0604020202020204" pitchFamily="34" charset="0"/>
              </a:rPr>
              <a:t>GBM</a:t>
            </a:r>
            <a:r>
              <a:rPr lang="en-US" altLang="en-US" sz="1400" dirty="0">
                <a:solidFill>
                  <a:schemeClr val="bg1"/>
                </a:solidFill>
                <a:latin typeface="Arial" panose="020B0604020202020204" pitchFamily="34" charset="0"/>
              </a:rPr>
              <a:t>).</a:t>
            </a:r>
          </a:p>
          <a:p>
            <a:pPr marL="285750" indent="-285750" eaLnBrk="0" fontAlgn="base" hangingPunct="0">
              <a:spcBef>
                <a:spcPct val="0"/>
              </a:spcBef>
              <a:spcAft>
                <a:spcPct val="0"/>
              </a:spcAft>
              <a:buFont typeface="Wingdings" panose="05000000000000000000" pitchFamily="2" charset="2"/>
              <a:buChar char="§"/>
            </a:pPr>
            <a:r>
              <a:rPr lang="en-US" altLang="en-US" sz="1400" dirty="0">
                <a:solidFill>
                  <a:schemeClr val="bg1"/>
                </a:solidFill>
                <a:latin typeface="Arial" panose="020B0604020202020204" pitchFamily="34" charset="0"/>
              </a:rPr>
              <a:t>Finalized on </a:t>
            </a:r>
            <a:r>
              <a:rPr lang="en-US" altLang="en-US" sz="1400" dirty="0" err="1">
                <a:solidFill>
                  <a:schemeClr val="bg1"/>
                </a:solidFill>
                <a:latin typeface="Arial" panose="020B0604020202020204" pitchFamily="34" charset="0"/>
              </a:rPr>
              <a:t>CatBoost</a:t>
            </a:r>
            <a:r>
              <a:rPr lang="en-US" altLang="en-US" sz="1400" dirty="0">
                <a:solidFill>
                  <a:schemeClr val="bg1"/>
                </a:solidFill>
                <a:latin typeface="Arial" panose="020B0604020202020204" pitchFamily="34" charset="0"/>
              </a:rPr>
              <a:t> its best predictive performance.</a:t>
            </a:r>
          </a:p>
          <a:p>
            <a:pPr marL="0" marR="0" lvl="0" indent="0" algn="l" defTabSz="914400" rtl="0" eaLnBrk="0" fontAlgn="base" latinLnBrk="0" hangingPunct="0">
              <a:lnSpc>
                <a:spcPct val="100000"/>
              </a:lnSpc>
              <a:spcBef>
                <a:spcPct val="0"/>
              </a:spcBef>
              <a:spcAft>
                <a:spcPct val="0"/>
              </a:spcAft>
              <a:buClrTx/>
              <a:buSzTx/>
              <a:tabLst/>
            </a:pPr>
            <a:endParaRPr lang="en-US" altLang="en-US" dirty="0">
              <a:solidFill>
                <a:srgbClr val="F1D809"/>
              </a:solidFill>
            </a:endParaRPr>
          </a:p>
          <a:p>
            <a:pPr marL="0" marR="0" lvl="0" indent="0" algn="l" defTabSz="914400" rtl="0" eaLnBrk="0" fontAlgn="base" latinLnBrk="0" hangingPunct="0">
              <a:lnSpc>
                <a:spcPct val="100000"/>
              </a:lnSpc>
              <a:spcBef>
                <a:spcPct val="0"/>
              </a:spcBef>
              <a:spcAft>
                <a:spcPct val="0"/>
              </a:spcAft>
              <a:buClrTx/>
              <a:buSzTx/>
              <a:tabLst/>
            </a:pPr>
            <a:r>
              <a:rPr lang="en-US" altLang="en-US" b="1" dirty="0">
                <a:solidFill>
                  <a:srgbClr val="F1D809"/>
                </a:solidFill>
              </a:rPr>
              <a:t>Hyperparameter Optimization:</a:t>
            </a:r>
          </a:p>
          <a:p>
            <a:pPr marL="285750" marR="0" lvl="0" indent="-285750" eaLnBrk="0" fontAlgn="base" hangingPunct="0">
              <a:lnSpc>
                <a:spcPct val="100000"/>
              </a:lnSpc>
              <a:spcBef>
                <a:spcPct val="0"/>
              </a:spcBef>
              <a:spcAft>
                <a:spcPct val="0"/>
              </a:spcAft>
              <a:buClrTx/>
              <a:buSzTx/>
              <a:buFont typeface="Wingdings" panose="05000000000000000000" pitchFamily="2" charset="2"/>
              <a:buChar char="§"/>
              <a:tabLst/>
            </a:pPr>
            <a:r>
              <a:rPr lang="en-US" altLang="en-US" sz="1400" dirty="0">
                <a:solidFill>
                  <a:schemeClr val="bg1"/>
                </a:solidFill>
                <a:latin typeface="Arial" panose="020B0604020202020204" pitchFamily="34" charset="0"/>
              </a:rPr>
              <a:t>Leveraged </a:t>
            </a:r>
            <a:r>
              <a:rPr lang="en-US" altLang="en-US" sz="1400" dirty="0" err="1">
                <a:solidFill>
                  <a:schemeClr val="bg1"/>
                </a:solidFill>
                <a:latin typeface="Arial" panose="020B0604020202020204" pitchFamily="34" charset="0"/>
              </a:rPr>
              <a:t>Optuna</a:t>
            </a:r>
            <a:r>
              <a:rPr lang="en-US" altLang="en-US" sz="1400" dirty="0">
                <a:solidFill>
                  <a:schemeClr val="bg1"/>
                </a:solidFill>
                <a:latin typeface="Arial" panose="020B0604020202020204" pitchFamily="34" charset="0"/>
              </a:rPr>
              <a:t> for fine-tuning </a:t>
            </a:r>
            <a:r>
              <a:rPr lang="en-US" altLang="en-US" sz="1400" dirty="0" err="1">
                <a:solidFill>
                  <a:schemeClr val="bg1"/>
                </a:solidFill>
                <a:latin typeface="Arial" panose="020B0604020202020204" pitchFamily="34" charset="0"/>
              </a:rPr>
              <a:t>CatBoost's</a:t>
            </a:r>
            <a:r>
              <a:rPr lang="en-US" altLang="en-US" sz="1400" dirty="0">
                <a:solidFill>
                  <a:schemeClr val="bg1"/>
                </a:solidFill>
                <a:latin typeface="Arial" panose="020B0604020202020204" pitchFamily="34" charset="0"/>
              </a:rPr>
              <a:t> hyperparameters to achieve optimal results</a:t>
            </a:r>
          </a:p>
          <a:p>
            <a:endParaRPr lang="en-US" dirty="0">
              <a:solidFill>
                <a:srgbClr val="F1D809"/>
              </a:solidFill>
            </a:endParaRPr>
          </a:p>
          <a:p>
            <a:endParaRPr lang="en-US" dirty="0">
              <a:solidFill>
                <a:srgbClr val="F1D809"/>
              </a:solidFill>
            </a:endParaRPr>
          </a:p>
          <a:p>
            <a:endParaRPr lang="en-US" dirty="0">
              <a:solidFill>
                <a:srgbClr val="F1D809"/>
              </a:solidFill>
            </a:endParaRPr>
          </a:p>
        </p:txBody>
      </p:sp>
      <p:pic>
        <p:nvPicPr>
          <p:cNvPr id="7172" name="Picture 4">
            <a:extLst>
              <a:ext uri="{FF2B5EF4-FFF2-40B4-BE49-F238E27FC236}">
                <a16:creationId xmlns:a16="http://schemas.microsoft.com/office/drawing/2014/main" id="{D436F1FC-3DAF-EFDB-A317-83CDCA4BC04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328" t="4563" r="3503" b="2230"/>
          <a:stretch/>
        </p:blipFill>
        <p:spPr bwMode="auto">
          <a:xfrm>
            <a:off x="5661041" y="2106445"/>
            <a:ext cx="6222183" cy="456223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27F3EDA8-1108-B1C7-C368-AC17551F12A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61042" y="189320"/>
            <a:ext cx="6222184" cy="17701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54703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B64CF4-463B-4B90-55E5-01729CAB2488}"/>
              </a:ext>
            </a:extLst>
          </p:cNvPr>
          <p:cNvSpPr/>
          <p:nvPr/>
        </p:nvSpPr>
        <p:spPr>
          <a:xfrm>
            <a:off x="10500189" y="143838"/>
            <a:ext cx="1561672" cy="606175"/>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780EF0B3-EC25-BFF6-AFFC-8120BBC3D4E5}"/>
              </a:ext>
            </a:extLst>
          </p:cNvPr>
          <p:cNvSpPr txBox="1"/>
          <p:nvPr/>
        </p:nvSpPr>
        <p:spPr>
          <a:xfrm>
            <a:off x="418250" y="124489"/>
            <a:ext cx="10859785" cy="584775"/>
          </a:xfrm>
          <a:prstGeom prst="rect">
            <a:avLst/>
          </a:prstGeom>
          <a:noFill/>
        </p:spPr>
        <p:txBody>
          <a:bodyPr wrap="square" rtlCol="0">
            <a:spAutoFit/>
          </a:bodyPr>
          <a:lstStyle/>
          <a:p>
            <a:r>
              <a:rPr lang="en-US" sz="3200" b="1">
                <a:solidFill>
                  <a:schemeClr val="accent1">
                    <a:lumMod val="20000"/>
                    <a:lumOff val="80000"/>
                  </a:schemeClr>
                </a:solidFill>
                <a:latin typeface="Aptos" panose="020B0004020202020204" pitchFamily="34" charset="0"/>
              </a:rPr>
              <a:t>SCOPE OF IMPROVEMENT</a:t>
            </a:r>
            <a:endParaRPr lang="en-US" sz="4800" b="1">
              <a:latin typeface="Aptos" panose="020B0004020202020204" pitchFamily="34" charset="0"/>
            </a:endParaRPr>
          </a:p>
        </p:txBody>
      </p:sp>
      <p:cxnSp>
        <p:nvCxnSpPr>
          <p:cNvPr id="4" name="Straight Connector 3">
            <a:extLst>
              <a:ext uri="{FF2B5EF4-FFF2-40B4-BE49-F238E27FC236}">
                <a16:creationId xmlns:a16="http://schemas.microsoft.com/office/drawing/2014/main" id="{AE97D858-2543-2756-5716-308E6D0B03FA}"/>
              </a:ext>
            </a:extLst>
          </p:cNvPr>
          <p:cNvCxnSpPr/>
          <p:nvPr/>
        </p:nvCxnSpPr>
        <p:spPr>
          <a:xfrm>
            <a:off x="407998" y="239648"/>
            <a:ext cx="0" cy="457200"/>
          </a:xfrm>
          <a:prstGeom prst="line">
            <a:avLst/>
          </a:prstGeom>
          <a:ln w="57150">
            <a:solidFill>
              <a:srgbClr val="F1D809"/>
            </a:solidFill>
          </a:ln>
        </p:spPr>
        <p:style>
          <a:lnRef idx="2">
            <a:schemeClr val="accent1"/>
          </a:lnRef>
          <a:fillRef idx="0">
            <a:schemeClr val="accent1"/>
          </a:fillRef>
          <a:effectRef idx="1">
            <a:schemeClr val="accent1"/>
          </a:effectRef>
          <a:fontRef idx="minor">
            <a:schemeClr val="tx1"/>
          </a:fontRef>
        </p:style>
      </p:cxnSp>
      <p:graphicFrame>
        <p:nvGraphicFramePr>
          <p:cNvPr id="8" name="Diagram 7">
            <a:extLst>
              <a:ext uri="{FF2B5EF4-FFF2-40B4-BE49-F238E27FC236}">
                <a16:creationId xmlns:a16="http://schemas.microsoft.com/office/drawing/2014/main" id="{9BD9AD44-BA9B-CFEA-DC31-76AB66C81297}"/>
              </a:ext>
            </a:extLst>
          </p:cNvPr>
          <p:cNvGraphicFramePr/>
          <p:nvPr>
            <p:extLst>
              <p:ext uri="{D42A27DB-BD31-4B8C-83A1-F6EECF244321}">
                <p14:modId xmlns:p14="http://schemas.microsoft.com/office/powerpoint/2010/main" val="483132950"/>
              </p:ext>
            </p:extLst>
          </p:nvPr>
        </p:nvGraphicFramePr>
        <p:xfrm>
          <a:off x="493059" y="1094780"/>
          <a:ext cx="10666637" cy="54488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827218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96C14FE-7C16-8AFF-2C11-731AFECEF396}"/>
              </a:ext>
            </a:extLst>
          </p:cNvPr>
          <p:cNvSpPr/>
          <p:nvPr/>
        </p:nvSpPr>
        <p:spPr>
          <a:xfrm>
            <a:off x="1164805" y="1490369"/>
            <a:ext cx="3815064" cy="2126914"/>
          </a:xfrm>
          <a:prstGeom prst="rect">
            <a:avLst/>
          </a:prstGeom>
          <a:noFill/>
          <a:ln>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F5CFD198-2B16-AA71-0906-5446BEA8348A}"/>
              </a:ext>
            </a:extLst>
          </p:cNvPr>
          <p:cNvSpPr txBox="1"/>
          <p:nvPr/>
        </p:nvSpPr>
        <p:spPr>
          <a:xfrm>
            <a:off x="2084498" y="1613765"/>
            <a:ext cx="1585533" cy="364330"/>
          </a:xfrm>
          <a:prstGeom prst="rect">
            <a:avLst/>
          </a:prstGeom>
          <a:noFill/>
        </p:spPr>
        <p:txBody>
          <a:bodyPr wrap="square" lIns="91440" tIns="45720" rIns="91440" bIns="45720" rtlCol="0" anchor="t">
            <a:noAutofit/>
          </a:bodyPr>
          <a:lstStyle>
            <a:defPPr>
              <a:defRPr lang="en-US"/>
            </a:defPPr>
            <a:lvl1pPr>
              <a:defRPr b="1">
                <a:solidFill>
                  <a:srgbClr val="E8D436"/>
                </a:solidFill>
              </a:defRPr>
            </a:lvl1pPr>
          </a:lstStyle>
          <a:p>
            <a:r>
              <a:rPr lang="en-US" dirty="0">
                <a:solidFill>
                  <a:schemeClr val="tx1"/>
                </a:solidFill>
              </a:rPr>
              <a:t>Invitee List</a:t>
            </a:r>
          </a:p>
        </p:txBody>
      </p:sp>
      <p:grpSp>
        <p:nvGrpSpPr>
          <p:cNvPr id="54" name="Group 53">
            <a:extLst>
              <a:ext uri="{FF2B5EF4-FFF2-40B4-BE49-F238E27FC236}">
                <a16:creationId xmlns:a16="http://schemas.microsoft.com/office/drawing/2014/main" id="{CF1B300E-B14A-4C2C-16F7-15E94AED943B}"/>
              </a:ext>
            </a:extLst>
          </p:cNvPr>
          <p:cNvGrpSpPr/>
          <p:nvPr/>
        </p:nvGrpSpPr>
        <p:grpSpPr>
          <a:xfrm>
            <a:off x="181970" y="523164"/>
            <a:ext cx="11782568" cy="841446"/>
            <a:chOff x="181970" y="523164"/>
            <a:chExt cx="11782568" cy="841446"/>
          </a:xfrm>
        </p:grpSpPr>
        <p:grpSp>
          <p:nvGrpSpPr>
            <p:cNvPr id="49" name="Group 48">
              <a:extLst>
                <a:ext uri="{FF2B5EF4-FFF2-40B4-BE49-F238E27FC236}">
                  <a16:creationId xmlns:a16="http://schemas.microsoft.com/office/drawing/2014/main" id="{C945C0A1-F5CD-981A-3AA7-EF6CA2C38DB1}"/>
                </a:ext>
              </a:extLst>
            </p:cNvPr>
            <p:cNvGrpSpPr/>
            <p:nvPr/>
          </p:nvGrpSpPr>
          <p:grpSpPr>
            <a:xfrm>
              <a:off x="181970" y="523164"/>
              <a:ext cx="11782568" cy="841446"/>
              <a:chOff x="0" y="0"/>
              <a:chExt cx="12192000" cy="1023416"/>
            </a:xfrm>
          </p:grpSpPr>
          <p:sp>
            <p:nvSpPr>
              <p:cNvPr id="42" name="Rectangle 41">
                <a:extLst>
                  <a:ext uri="{FF2B5EF4-FFF2-40B4-BE49-F238E27FC236}">
                    <a16:creationId xmlns:a16="http://schemas.microsoft.com/office/drawing/2014/main" id="{AEBFD281-38F4-874B-D770-21CE20BA6165}"/>
                  </a:ext>
                </a:extLst>
              </p:cNvPr>
              <p:cNvSpPr/>
              <p:nvPr/>
            </p:nvSpPr>
            <p:spPr>
              <a:xfrm>
                <a:off x="0" y="0"/>
                <a:ext cx="12192000" cy="101569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46" name="Picture 45" descr="A hand touching a gear&#10;&#10;Description automatically generated with medium confidence">
                <a:extLst>
                  <a:ext uri="{FF2B5EF4-FFF2-40B4-BE49-F238E27FC236}">
                    <a16:creationId xmlns:a16="http://schemas.microsoft.com/office/drawing/2014/main" id="{561E579C-43CA-378E-79A3-045876456521}"/>
                  </a:ext>
                </a:extLst>
              </p:cNvPr>
              <p:cNvPicPr>
                <a:picLocks noChangeAspect="1"/>
              </p:cNvPicPr>
              <p:nvPr/>
            </p:nvPicPr>
            <p:blipFill rotWithShape="1">
              <a:blip r:embed="rId2">
                <a:alphaModFix amt="30000"/>
                <a:extLst>
                  <a:ext uri="{28A0092B-C50C-407E-A947-70E740481C1C}">
                    <a14:useLocalDpi xmlns:a14="http://schemas.microsoft.com/office/drawing/2010/main" val="0"/>
                  </a:ext>
                </a:extLst>
              </a:blip>
              <a:srcRect t="52961" b="32116"/>
              <a:stretch/>
            </p:blipFill>
            <p:spPr>
              <a:xfrm flipH="1">
                <a:off x="0" y="0"/>
                <a:ext cx="12192000" cy="1023416"/>
              </a:xfrm>
              <a:prstGeom prst="rect">
                <a:avLst/>
              </a:prstGeom>
            </p:spPr>
          </p:pic>
          <p:cxnSp>
            <p:nvCxnSpPr>
              <p:cNvPr id="48" name="Straight Connector 47">
                <a:extLst>
                  <a:ext uri="{FF2B5EF4-FFF2-40B4-BE49-F238E27FC236}">
                    <a16:creationId xmlns:a16="http://schemas.microsoft.com/office/drawing/2014/main" id="{643C9DF7-CFDD-341F-6A3D-47B0DFECB28D}"/>
                  </a:ext>
                </a:extLst>
              </p:cNvPr>
              <p:cNvCxnSpPr/>
              <p:nvPr/>
            </p:nvCxnSpPr>
            <p:spPr>
              <a:xfrm>
                <a:off x="0" y="1019175"/>
                <a:ext cx="12192000" cy="0"/>
              </a:xfrm>
              <a:prstGeom prst="line">
                <a:avLst/>
              </a:prstGeom>
              <a:ln w="3175">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grpSp>
        <p:sp>
          <p:nvSpPr>
            <p:cNvPr id="52" name="TextBox 51">
              <a:extLst>
                <a:ext uri="{FF2B5EF4-FFF2-40B4-BE49-F238E27FC236}">
                  <a16:creationId xmlns:a16="http://schemas.microsoft.com/office/drawing/2014/main" id="{F5399AC6-8BE0-22CC-7B31-554193FED74C}"/>
                </a:ext>
              </a:extLst>
            </p:cNvPr>
            <p:cNvSpPr txBox="1"/>
            <p:nvPr/>
          </p:nvSpPr>
          <p:spPr>
            <a:xfrm>
              <a:off x="209265" y="641445"/>
              <a:ext cx="9441976"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dirty="0">
                  <a:latin typeface="+mj-lt"/>
                </a:rPr>
                <a:t>Auction EDGE</a:t>
              </a:r>
            </a:p>
          </p:txBody>
        </p:sp>
      </p:grpSp>
      <p:sp>
        <p:nvSpPr>
          <p:cNvPr id="3" name="TextBox 2">
            <a:extLst>
              <a:ext uri="{FF2B5EF4-FFF2-40B4-BE49-F238E27FC236}">
                <a16:creationId xmlns:a16="http://schemas.microsoft.com/office/drawing/2014/main" id="{E924E4FE-B439-5205-BFAD-CD4C555A3976}"/>
              </a:ext>
            </a:extLst>
          </p:cNvPr>
          <p:cNvSpPr txBox="1"/>
          <p:nvPr/>
        </p:nvSpPr>
        <p:spPr>
          <a:xfrm>
            <a:off x="7546023" y="403779"/>
            <a:ext cx="4163624" cy="1200329"/>
          </a:xfrm>
          <a:prstGeom prst="rect">
            <a:avLst/>
          </a:prstGeom>
          <a:noFill/>
        </p:spPr>
        <p:txBody>
          <a:bodyPr wrap="square">
            <a:spAutoFit/>
          </a:bodyPr>
          <a:lstStyle/>
          <a:p>
            <a:r>
              <a:rPr lang="en-US" sz="7200" b="1" dirty="0">
                <a:latin typeface="Aptos" panose="020B0004020202020204" pitchFamily="34" charset="0"/>
              </a:rPr>
              <a:t>Strategy</a:t>
            </a:r>
          </a:p>
        </p:txBody>
      </p:sp>
      <p:sp>
        <p:nvSpPr>
          <p:cNvPr id="12" name="TextBox 11">
            <a:extLst>
              <a:ext uri="{FF2B5EF4-FFF2-40B4-BE49-F238E27FC236}">
                <a16:creationId xmlns:a16="http://schemas.microsoft.com/office/drawing/2014/main" id="{B2A245BE-DADE-F78A-0DCF-A27F11F94FCD}"/>
              </a:ext>
            </a:extLst>
          </p:cNvPr>
          <p:cNvSpPr txBox="1"/>
          <p:nvPr/>
        </p:nvSpPr>
        <p:spPr>
          <a:xfrm>
            <a:off x="1411670" y="2132285"/>
            <a:ext cx="3456646" cy="1600438"/>
          </a:xfrm>
          <a:prstGeom prst="rect">
            <a:avLst/>
          </a:prstGeom>
          <a:noFill/>
        </p:spPr>
        <p:txBody>
          <a:bodyPr wrap="square" lIns="91440" tIns="45720" rIns="91440" bIns="45720" anchor="t">
            <a:spAutoFit/>
          </a:bodyPr>
          <a:lstStyle/>
          <a:p>
            <a:pPr marL="285750" indent="-285750">
              <a:buFont typeface="Wingdings" panose="05000000000000000000" pitchFamily="2" charset="2"/>
              <a:buChar char="§"/>
            </a:pPr>
            <a:r>
              <a:rPr lang="en-US" sz="1400" dirty="0">
                <a:latin typeface="Aptos" panose="020B0004020202020204" pitchFamily="34" charset="0"/>
              </a:rPr>
              <a:t>Consider quantity size to make sure MOQ of suppliers are considered</a:t>
            </a:r>
          </a:p>
          <a:p>
            <a:pPr marL="285750" indent="-285750">
              <a:buFont typeface="Wingdings" panose="05000000000000000000" pitchFamily="2" charset="2"/>
              <a:buChar char="§"/>
            </a:pPr>
            <a:r>
              <a:rPr lang="en-US" sz="1400" dirty="0">
                <a:latin typeface="Aptos" panose="020B0004020202020204" pitchFamily="34" charset="0"/>
              </a:rPr>
              <a:t>Have a good mix of Large/Small and New/Old Suppliers</a:t>
            </a:r>
          </a:p>
          <a:p>
            <a:pPr marL="285750" indent="-285750">
              <a:buFont typeface="Wingdings" panose="05000000000000000000" pitchFamily="2" charset="2"/>
              <a:buChar char="§"/>
            </a:pPr>
            <a:r>
              <a:rPr lang="en-US" sz="1400" dirty="0">
                <a:latin typeface="Aptos" panose="020B0004020202020204" pitchFamily="34" charset="0"/>
              </a:rPr>
              <a:t>Consider historical OTD, quality and ethical sourcing</a:t>
            </a:r>
          </a:p>
          <a:p>
            <a:endParaRPr lang="en-US" sz="1400" dirty="0">
              <a:ea typeface="+mn-lt"/>
              <a:cs typeface="+mn-lt"/>
            </a:endParaRPr>
          </a:p>
        </p:txBody>
      </p:sp>
      <p:pic>
        <p:nvPicPr>
          <p:cNvPr id="15" name="Picture 14">
            <a:extLst>
              <a:ext uri="{FF2B5EF4-FFF2-40B4-BE49-F238E27FC236}">
                <a16:creationId xmlns:a16="http://schemas.microsoft.com/office/drawing/2014/main" id="{2894C8F1-B482-8B2E-AC19-9B05B4A18AFD}"/>
              </a:ext>
            </a:extLst>
          </p:cNvPr>
          <p:cNvPicPr>
            <a:picLocks noChangeAspect="1"/>
          </p:cNvPicPr>
          <p:nvPr/>
        </p:nvPicPr>
        <p:blipFill>
          <a:blip r:embed="rId3"/>
          <a:stretch>
            <a:fillRect/>
          </a:stretch>
        </p:blipFill>
        <p:spPr>
          <a:xfrm>
            <a:off x="1194697" y="1522650"/>
            <a:ext cx="546560" cy="546560"/>
          </a:xfrm>
          <a:prstGeom prst="rect">
            <a:avLst/>
          </a:prstGeom>
        </p:spPr>
      </p:pic>
      <p:sp>
        <p:nvSpPr>
          <p:cNvPr id="17" name="Rectangle 16">
            <a:extLst>
              <a:ext uri="{FF2B5EF4-FFF2-40B4-BE49-F238E27FC236}">
                <a16:creationId xmlns:a16="http://schemas.microsoft.com/office/drawing/2014/main" id="{C4889343-F06B-7FE8-356A-83C740A9935C}"/>
              </a:ext>
            </a:extLst>
          </p:cNvPr>
          <p:cNvSpPr/>
          <p:nvPr/>
        </p:nvSpPr>
        <p:spPr>
          <a:xfrm>
            <a:off x="6981607" y="1457857"/>
            <a:ext cx="3815064" cy="2126914"/>
          </a:xfrm>
          <a:prstGeom prst="rect">
            <a:avLst/>
          </a:prstGeom>
          <a:noFill/>
          <a:ln>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78918561-E70C-DE82-98AA-8E56C255C917}"/>
              </a:ext>
            </a:extLst>
          </p:cNvPr>
          <p:cNvSpPr txBox="1"/>
          <p:nvPr/>
        </p:nvSpPr>
        <p:spPr>
          <a:xfrm>
            <a:off x="7821400" y="1581253"/>
            <a:ext cx="1585533" cy="364330"/>
          </a:xfrm>
          <a:prstGeom prst="rect">
            <a:avLst/>
          </a:prstGeom>
          <a:noFill/>
        </p:spPr>
        <p:txBody>
          <a:bodyPr wrap="square" lIns="91440" tIns="45720" rIns="91440" bIns="45720" rtlCol="0" anchor="t">
            <a:noAutofit/>
          </a:bodyPr>
          <a:lstStyle>
            <a:defPPr>
              <a:defRPr lang="en-US"/>
            </a:defPPr>
            <a:lvl1pPr>
              <a:defRPr sz="1400" b="1">
                <a:solidFill>
                  <a:srgbClr val="E8D436"/>
                </a:solidFill>
              </a:defRPr>
            </a:lvl1pPr>
          </a:lstStyle>
          <a:p>
            <a:r>
              <a:rPr lang="en-US" sz="1800" dirty="0">
                <a:solidFill>
                  <a:schemeClr val="tx1"/>
                </a:solidFill>
              </a:rPr>
              <a:t>Pricing</a:t>
            </a:r>
          </a:p>
        </p:txBody>
      </p:sp>
      <p:sp>
        <p:nvSpPr>
          <p:cNvPr id="19" name="TextBox 18">
            <a:extLst>
              <a:ext uri="{FF2B5EF4-FFF2-40B4-BE49-F238E27FC236}">
                <a16:creationId xmlns:a16="http://schemas.microsoft.com/office/drawing/2014/main" id="{4C274875-3CCE-A071-BE29-AADD0CCB9B94}"/>
              </a:ext>
            </a:extLst>
          </p:cNvPr>
          <p:cNvSpPr txBox="1"/>
          <p:nvPr/>
        </p:nvSpPr>
        <p:spPr>
          <a:xfrm>
            <a:off x="7228472" y="2099773"/>
            <a:ext cx="3456646" cy="1384995"/>
          </a:xfrm>
          <a:prstGeom prst="rect">
            <a:avLst/>
          </a:prstGeom>
          <a:noFill/>
        </p:spPr>
        <p:txBody>
          <a:bodyPr wrap="square" lIns="91440" tIns="45720" rIns="91440" bIns="45720" anchor="t">
            <a:spAutoFit/>
          </a:bodyPr>
          <a:lstStyle>
            <a:defPPr>
              <a:defRPr lang="en-US"/>
            </a:defPPr>
            <a:lvl1pPr marL="285750" indent="-285750">
              <a:buFont typeface="Wingdings" panose="05000000000000000000" pitchFamily="2" charset="2"/>
              <a:buChar char="§"/>
              <a:defRPr sz="1400">
                <a:solidFill>
                  <a:schemeClr val="bg1"/>
                </a:solidFill>
                <a:latin typeface="Aptos" panose="020B0004020202020204" pitchFamily="34" charset="0"/>
              </a:defRPr>
            </a:lvl1pPr>
          </a:lstStyle>
          <a:p>
            <a:r>
              <a:rPr lang="en-US" dirty="0">
                <a:solidFill>
                  <a:schemeClr val="tx1"/>
                </a:solidFill>
              </a:rPr>
              <a:t>Use historical bid and inflation rates to get the optimum starting point. Ensure it leaves room for competitive bidding.</a:t>
            </a:r>
          </a:p>
          <a:p>
            <a:r>
              <a:rPr lang="en-US" dirty="0">
                <a:solidFill>
                  <a:schemeClr val="tx1"/>
                </a:solidFill>
              </a:rPr>
              <a:t>Consider economic conditions, seasonal demand, or shortages that may impact pricing</a:t>
            </a:r>
          </a:p>
        </p:txBody>
      </p:sp>
      <p:pic>
        <p:nvPicPr>
          <p:cNvPr id="21" name="Picture 20">
            <a:extLst>
              <a:ext uri="{FF2B5EF4-FFF2-40B4-BE49-F238E27FC236}">
                <a16:creationId xmlns:a16="http://schemas.microsoft.com/office/drawing/2014/main" id="{D67C0431-2B60-6EA1-9F21-E48590B1CC22}"/>
              </a:ext>
            </a:extLst>
          </p:cNvPr>
          <p:cNvPicPr>
            <a:picLocks noChangeAspect="1"/>
          </p:cNvPicPr>
          <p:nvPr/>
        </p:nvPicPr>
        <p:blipFill>
          <a:blip r:embed="rId4"/>
          <a:stretch>
            <a:fillRect/>
          </a:stretch>
        </p:blipFill>
        <p:spPr>
          <a:xfrm>
            <a:off x="6981607" y="1463987"/>
            <a:ext cx="612000" cy="612000"/>
          </a:xfrm>
          <a:prstGeom prst="rect">
            <a:avLst/>
          </a:prstGeom>
        </p:spPr>
      </p:pic>
      <p:sp>
        <p:nvSpPr>
          <p:cNvPr id="24" name="Rectangle 23">
            <a:extLst>
              <a:ext uri="{FF2B5EF4-FFF2-40B4-BE49-F238E27FC236}">
                <a16:creationId xmlns:a16="http://schemas.microsoft.com/office/drawing/2014/main" id="{34DB7D17-E01B-4529-31F0-4B42C65A26D8}"/>
              </a:ext>
            </a:extLst>
          </p:cNvPr>
          <p:cNvSpPr/>
          <p:nvPr/>
        </p:nvSpPr>
        <p:spPr>
          <a:xfrm>
            <a:off x="1164805" y="4097914"/>
            <a:ext cx="3815064" cy="2126914"/>
          </a:xfrm>
          <a:prstGeom prst="rect">
            <a:avLst/>
          </a:prstGeom>
          <a:noFill/>
          <a:ln>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ADF50B44-9FE3-F516-E5E6-39770D94760F}"/>
              </a:ext>
            </a:extLst>
          </p:cNvPr>
          <p:cNvSpPr txBox="1"/>
          <p:nvPr/>
        </p:nvSpPr>
        <p:spPr>
          <a:xfrm>
            <a:off x="2211862" y="4304174"/>
            <a:ext cx="2335571" cy="364330"/>
          </a:xfrm>
          <a:prstGeom prst="rect">
            <a:avLst/>
          </a:prstGeom>
          <a:noFill/>
        </p:spPr>
        <p:txBody>
          <a:bodyPr wrap="square" lIns="91440" tIns="45720" rIns="91440" bIns="45720" rtlCol="0" anchor="t">
            <a:noAutofit/>
          </a:bodyPr>
          <a:lstStyle>
            <a:defPPr>
              <a:defRPr lang="en-US"/>
            </a:defPPr>
            <a:lvl1pPr>
              <a:defRPr sz="1400" b="1">
                <a:solidFill>
                  <a:srgbClr val="E8D436"/>
                </a:solidFill>
              </a:defRPr>
            </a:lvl1pPr>
          </a:lstStyle>
          <a:p>
            <a:r>
              <a:rPr lang="en-US" sz="1800" dirty="0">
                <a:solidFill>
                  <a:schemeClr val="tx1"/>
                </a:solidFill>
              </a:rPr>
              <a:t>Supplier Financials</a:t>
            </a:r>
          </a:p>
        </p:txBody>
      </p:sp>
      <p:sp>
        <p:nvSpPr>
          <p:cNvPr id="55" name="TextBox 54">
            <a:extLst>
              <a:ext uri="{FF2B5EF4-FFF2-40B4-BE49-F238E27FC236}">
                <a16:creationId xmlns:a16="http://schemas.microsoft.com/office/drawing/2014/main" id="{4C1890DF-B783-D50C-691B-903D6660BA43}"/>
              </a:ext>
            </a:extLst>
          </p:cNvPr>
          <p:cNvSpPr txBox="1"/>
          <p:nvPr/>
        </p:nvSpPr>
        <p:spPr>
          <a:xfrm>
            <a:off x="1473607" y="4788579"/>
            <a:ext cx="3456646" cy="1384995"/>
          </a:xfrm>
          <a:prstGeom prst="rect">
            <a:avLst/>
          </a:prstGeom>
          <a:noFill/>
        </p:spPr>
        <p:txBody>
          <a:bodyPr wrap="square" lIns="91440" tIns="45720" rIns="91440" bIns="45720" anchor="t">
            <a:spAutoFit/>
          </a:bodyPr>
          <a:lstStyle>
            <a:defPPr>
              <a:defRPr lang="en-US"/>
            </a:defPPr>
            <a:lvl1pPr marL="285750" indent="-285750">
              <a:buFont typeface="Wingdings" panose="05000000000000000000" pitchFamily="2" charset="2"/>
              <a:buChar char="§"/>
              <a:defRPr sz="1400">
                <a:solidFill>
                  <a:schemeClr val="bg1"/>
                </a:solidFill>
                <a:latin typeface="Aptos" panose="020B0004020202020204" pitchFamily="34" charset="0"/>
              </a:defRPr>
            </a:lvl1pPr>
          </a:lstStyle>
          <a:p>
            <a:r>
              <a:rPr lang="en-US" dirty="0">
                <a:solidFill>
                  <a:schemeClr val="tx1"/>
                </a:solidFill>
              </a:rPr>
              <a:t>Check on financials of suppliers available</a:t>
            </a:r>
          </a:p>
          <a:p>
            <a:r>
              <a:rPr lang="en-US" dirty="0">
                <a:solidFill>
                  <a:schemeClr val="tx1"/>
                </a:solidFill>
              </a:rPr>
              <a:t>Helps on risk mitigation and supplier can meet contractual obligations</a:t>
            </a:r>
          </a:p>
          <a:p>
            <a:r>
              <a:rPr lang="en-US" dirty="0">
                <a:solidFill>
                  <a:schemeClr val="tx1"/>
                </a:solidFill>
              </a:rPr>
              <a:t>Enables for a better PT as per their financials</a:t>
            </a:r>
          </a:p>
        </p:txBody>
      </p:sp>
      <p:sp>
        <p:nvSpPr>
          <p:cNvPr id="57" name="Rectangle 56">
            <a:extLst>
              <a:ext uri="{FF2B5EF4-FFF2-40B4-BE49-F238E27FC236}">
                <a16:creationId xmlns:a16="http://schemas.microsoft.com/office/drawing/2014/main" id="{F9210341-6939-A1DA-F540-114FEFC7DC28}"/>
              </a:ext>
            </a:extLst>
          </p:cNvPr>
          <p:cNvSpPr/>
          <p:nvPr/>
        </p:nvSpPr>
        <p:spPr>
          <a:xfrm>
            <a:off x="7004866" y="4080436"/>
            <a:ext cx="3815064" cy="2126914"/>
          </a:xfrm>
          <a:prstGeom prst="rect">
            <a:avLst/>
          </a:prstGeom>
          <a:noFill/>
          <a:ln>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pic>
        <p:nvPicPr>
          <p:cNvPr id="60" name="Picture 59">
            <a:extLst>
              <a:ext uri="{FF2B5EF4-FFF2-40B4-BE49-F238E27FC236}">
                <a16:creationId xmlns:a16="http://schemas.microsoft.com/office/drawing/2014/main" id="{C036B55E-5EAA-5B57-EBA0-65A168280FC0}"/>
              </a:ext>
            </a:extLst>
          </p:cNvPr>
          <p:cNvPicPr>
            <a:picLocks noChangeAspect="1"/>
          </p:cNvPicPr>
          <p:nvPr/>
        </p:nvPicPr>
        <p:blipFill>
          <a:blip r:embed="rId4"/>
          <a:stretch>
            <a:fillRect/>
          </a:stretch>
        </p:blipFill>
        <p:spPr>
          <a:xfrm>
            <a:off x="7004866" y="4086566"/>
            <a:ext cx="612000" cy="612000"/>
          </a:xfrm>
          <a:prstGeom prst="rect">
            <a:avLst/>
          </a:prstGeom>
        </p:spPr>
      </p:pic>
      <p:pic>
        <p:nvPicPr>
          <p:cNvPr id="70" name="Picture 69">
            <a:extLst>
              <a:ext uri="{FF2B5EF4-FFF2-40B4-BE49-F238E27FC236}">
                <a16:creationId xmlns:a16="http://schemas.microsoft.com/office/drawing/2014/main" id="{7334404F-762E-62DA-FAEC-D1A02F2C5ADE}"/>
              </a:ext>
            </a:extLst>
          </p:cNvPr>
          <p:cNvPicPr>
            <a:picLocks noChangeAspect="1"/>
          </p:cNvPicPr>
          <p:nvPr/>
        </p:nvPicPr>
        <p:blipFill>
          <a:blip r:embed="rId5"/>
          <a:stretch>
            <a:fillRect/>
          </a:stretch>
        </p:blipFill>
        <p:spPr>
          <a:xfrm>
            <a:off x="1179751" y="4107852"/>
            <a:ext cx="576452" cy="576452"/>
          </a:xfrm>
          <a:prstGeom prst="rect">
            <a:avLst/>
          </a:prstGeom>
        </p:spPr>
      </p:pic>
      <p:pic>
        <p:nvPicPr>
          <p:cNvPr id="72" name="Picture 71">
            <a:extLst>
              <a:ext uri="{FF2B5EF4-FFF2-40B4-BE49-F238E27FC236}">
                <a16:creationId xmlns:a16="http://schemas.microsoft.com/office/drawing/2014/main" id="{779D35DF-2022-21B3-8619-FF6E54B8B3D1}"/>
              </a:ext>
            </a:extLst>
          </p:cNvPr>
          <p:cNvPicPr>
            <a:picLocks noChangeAspect="1"/>
          </p:cNvPicPr>
          <p:nvPr/>
        </p:nvPicPr>
        <p:blipFill>
          <a:blip r:embed="rId6"/>
          <a:stretch>
            <a:fillRect/>
          </a:stretch>
        </p:blipFill>
        <p:spPr>
          <a:xfrm>
            <a:off x="5463076" y="3362757"/>
            <a:ext cx="1038687" cy="1038687"/>
          </a:xfrm>
          <a:prstGeom prst="rect">
            <a:avLst/>
          </a:prstGeom>
        </p:spPr>
      </p:pic>
      <p:sp>
        <p:nvSpPr>
          <p:cNvPr id="75" name="Circle: Hollow 74">
            <a:extLst>
              <a:ext uri="{FF2B5EF4-FFF2-40B4-BE49-F238E27FC236}">
                <a16:creationId xmlns:a16="http://schemas.microsoft.com/office/drawing/2014/main" id="{760A4709-EDD9-57A6-AB7E-D537E663BF20}"/>
              </a:ext>
            </a:extLst>
          </p:cNvPr>
          <p:cNvSpPr/>
          <p:nvPr/>
        </p:nvSpPr>
        <p:spPr>
          <a:xfrm>
            <a:off x="4838333" y="2771435"/>
            <a:ext cx="2299701" cy="2217958"/>
          </a:xfrm>
          <a:prstGeom prst="donut">
            <a:avLst>
              <a:gd name="adj" fmla="val 1072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4" name="TextBox 13">
            <a:extLst>
              <a:ext uri="{FF2B5EF4-FFF2-40B4-BE49-F238E27FC236}">
                <a16:creationId xmlns:a16="http://schemas.microsoft.com/office/drawing/2014/main" id="{AB072BE8-103D-B41F-AFA4-9B544BC57A0B}"/>
              </a:ext>
            </a:extLst>
          </p:cNvPr>
          <p:cNvSpPr txBox="1"/>
          <p:nvPr/>
        </p:nvSpPr>
        <p:spPr>
          <a:xfrm>
            <a:off x="7821400" y="4239746"/>
            <a:ext cx="2082888" cy="428758"/>
          </a:xfrm>
          <a:prstGeom prst="rect">
            <a:avLst/>
          </a:prstGeom>
          <a:noFill/>
        </p:spPr>
        <p:txBody>
          <a:bodyPr wrap="square" lIns="91440" tIns="45720" rIns="91440" bIns="45720" rtlCol="0" anchor="t">
            <a:noAutofit/>
          </a:bodyPr>
          <a:lstStyle>
            <a:defPPr>
              <a:defRPr lang="en-US"/>
            </a:defPPr>
            <a:lvl1pPr>
              <a:defRPr sz="1400" b="1">
                <a:solidFill>
                  <a:srgbClr val="E8D436"/>
                </a:solidFill>
              </a:defRPr>
            </a:lvl1pPr>
          </a:lstStyle>
          <a:p>
            <a:r>
              <a:rPr lang="en-US" sz="1800" dirty="0">
                <a:solidFill>
                  <a:schemeClr val="tx1"/>
                </a:solidFill>
              </a:rPr>
              <a:t>Ways of Working</a:t>
            </a:r>
          </a:p>
        </p:txBody>
      </p:sp>
      <p:sp>
        <p:nvSpPr>
          <p:cNvPr id="61" name="TextBox 60">
            <a:extLst>
              <a:ext uri="{FF2B5EF4-FFF2-40B4-BE49-F238E27FC236}">
                <a16:creationId xmlns:a16="http://schemas.microsoft.com/office/drawing/2014/main" id="{3E00567D-B046-C6E7-DF28-1577936E01F2}"/>
              </a:ext>
            </a:extLst>
          </p:cNvPr>
          <p:cNvSpPr txBox="1"/>
          <p:nvPr/>
        </p:nvSpPr>
        <p:spPr>
          <a:xfrm>
            <a:off x="7210973" y="4684304"/>
            <a:ext cx="3456646" cy="1384995"/>
          </a:xfrm>
          <a:prstGeom prst="rect">
            <a:avLst/>
          </a:prstGeom>
          <a:noFill/>
        </p:spPr>
        <p:txBody>
          <a:bodyPr wrap="square" lIns="91440" tIns="45720" rIns="91440" bIns="45720" anchor="t">
            <a:spAutoFit/>
          </a:bodyPr>
          <a:lstStyle>
            <a:defPPr>
              <a:defRPr lang="en-US"/>
            </a:defPPr>
            <a:lvl1pPr marL="285750" indent="-285750">
              <a:buFont typeface="Wingdings" panose="05000000000000000000" pitchFamily="2" charset="2"/>
              <a:buChar char="§"/>
              <a:defRPr sz="1400">
                <a:solidFill>
                  <a:schemeClr val="bg1"/>
                </a:solidFill>
                <a:latin typeface="Aptos" panose="020B0004020202020204" pitchFamily="34" charset="0"/>
              </a:defRPr>
            </a:lvl1pPr>
          </a:lstStyle>
          <a:p>
            <a:r>
              <a:rPr lang="en-US" dirty="0">
                <a:solidFill>
                  <a:schemeClr val="tx1"/>
                </a:solidFill>
              </a:rPr>
              <a:t>Maintain transparency by providing live updates on bids to keep suppliers engaged</a:t>
            </a:r>
          </a:p>
          <a:p>
            <a:r>
              <a:rPr lang="en-US" dirty="0">
                <a:solidFill>
                  <a:schemeClr val="tx1"/>
                </a:solidFill>
              </a:rPr>
              <a:t>Have a post auction negotiation to align on terms like delivery timelines, quality assurance etc.</a:t>
            </a:r>
          </a:p>
        </p:txBody>
      </p:sp>
    </p:spTree>
    <p:extLst>
      <p:ext uri="{BB962C8B-B14F-4D97-AF65-F5344CB8AC3E}">
        <p14:creationId xmlns:p14="http://schemas.microsoft.com/office/powerpoint/2010/main" val="16052654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B64CF4-463B-4B90-55E5-01729CAB2488}"/>
              </a:ext>
            </a:extLst>
          </p:cNvPr>
          <p:cNvSpPr/>
          <p:nvPr/>
        </p:nvSpPr>
        <p:spPr>
          <a:xfrm>
            <a:off x="10500189" y="143838"/>
            <a:ext cx="1561672" cy="606175"/>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780EF0B3-EC25-BFF6-AFFC-8120BBC3D4E5}"/>
              </a:ext>
            </a:extLst>
          </p:cNvPr>
          <p:cNvSpPr txBox="1"/>
          <p:nvPr/>
        </p:nvSpPr>
        <p:spPr>
          <a:xfrm>
            <a:off x="418250" y="124489"/>
            <a:ext cx="10859785" cy="584775"/>
          </a:xfrm>
          <a:prstGeom prst="rect">
            <a:avLst/>
          </a:prstGeom>
          <a:noFill/>
        </p:spPr>
        <p:txBody>
          <a:bodyPr wrap="square" rtlCol="0">
            <a:spAutoFit/>
          </a:bodyPr>
          <a:lstStyle/>
          <a:p>
            <a:r>
              <a:rPr lang="en-US" sz="3200" b="1" dirty="0">
                <a:solidFill>
                  <a:schemeClr val="accent1">
                    <a:lumMod val="20000"/>
                    <a:lumOff val="80000"/>
                  </a:schemeClr>
                </a:solidFill>
                <a:latin typeface="Aptos" panose="020B0004020202020204" pitchFamily="34" charset="0"/>
              </a:rPr>
              <a:t>WHY 64 CHESSBOARD SOURCING SHOULD BE TRIED?</a:t>
            </a:r>
            <a:endParaRPr lang="en-US" sz="4800" b="1" dirty="0">
              <a:latin typeface="Aptos" panose="020B0004020202020204" pitchFamily="34" charset="0"/>
            </a:endParaRPr>
          </a:p>
        </p:txBody>
      </p:sp>
      <p:cxnSp>
        <p:nvCxnSpPr>
          <p:cNvPr id="4" name="Straight Connector 3">
            <a:extLst>
              <a:ext uri="{FF2B5EF4-FFF2-40B4-BE49-F238E27FC236}">
                <a16:creationId xmlns:a16="http://schemas.microsoft.com/office/drawing/2014/main" id="{AE97D858-2543-2756-5716-308E6D0B03FA}"/>
              </a:ext>
            </a:extLst>
          </p:cNvPr>
          <p:cNvCxnSpPr/>
          <p:nvPr/>
        </p:nvCxnSpPr>
        <p:spPr>
          <a:xfrm>
            <a:off x="407998" y="239648"/>
            <a:ext cx="0" cy="457200"/>
          </a:xfrm>
          <a:prstGeom prst="line">
            <a:avLst/>
          </a:prstGeom>
          <a:ln w="57150">
            <a:solidFill>
              <a:srgbClr val="F1D809"/>
            </a:solidFill>
          </a:ln>
        </p:spPr>
        <p:style>
          <a:lnRef idx="2">
            <a:schemeClr val="accent1"/>
          </a:lnRef>
          <a:fillRef idx="0">
            <a:schemeClr val="accent1"/>
          </a:fillRef>
          <a:effectRef idx="1">
            <a:schemeClr val="accent1"/>
          </a:effectRef>
          <a:fontRef idx="minor">
            <a:schemeClr val="tx1"/>
          </a:fontRef>
        </p:style>
      </p:cxnSp>
      <p:sp>
        <p:nvSpPr>
          <p:cNvPr id="5" name="Text Placeholder 7">
            <a:extLst>
              <a:ext uri="{FF2B5EF4-FFF2-40B4-BE49-F238E27FC236}">
                <a16:creationId xmlns:a16="http://schemas.microsoft.com/office/drawing/2014/main" id="{D774B924-8FCF-7A60-4AF8-1E4A582193FA}"/>
              </a:ext>
            </a:extLst>
          </p:cNvPr>
          <p:cNvSpPr txBox="1">
            <a:spLocks/>
          </p:cNvSpPr>
          <p:nvPr/>
        </p:nvSpPr>
        <p:spPr>
          <a:xfrm>
            <a:off x="238394" y="728752"/>
            <a:ext cx="11891962" cy="380719"/>
          </a:xfrm>
          <a:prstGeom prst="rect">
            <a:avLst/>
          </a:prstGeom>
        </p:spPr>
        <p:txBody>
          <a:bodyPr vert="horz" lIns="0" tIns="0" rIns="9144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lang="en-US" sz="2400" b="0" kern="1200" baseline="0" dirty="0">
                <a:solidFill>
                  <a:srgbClr val="000000"/>
                </a:solidFill>
                <a:latin typeface="+mn-lt"/>
                <a:ea typeface="+mn-ea"/>
                <a:cs typeface="+mn-cs"/>
              </a:defRPr>
            </a:lvl1pPr>
            <a:lvl2pPr marL="228600" indent="-228600" algn="l" defTabSz="914400" rtl="0" eaLnBrk="1" latinLnBrk="0" hangingPunct="1">
              <a:lnSpc>
                <a:spcPct val="100000"/>
              </a:lnSpc>
              <a:spcBef>
                <a:spcPts val="0"/>
              </a:spcBef>
              <a:spcAft>
                <a:spcPts val="1200"/>
              </a:spcAft>
              <a:buClr>
                <a:schemeClr val="accent2"/>
              </a:buClr>
              <a:buFont typeface="Arial" panose="020B0604020202020204" pitchFamily="34" charset="0"/>
              <a:buChar char="•"/>
              <a:defRPr lang="en-US" sz="2100" kern="1200" dirty="0">
                <a:solidFill>
                  <a:srgbClr val="000000"/>
                </a:solidFill>
                <a:latin typeface="+mn-lt"/>
                <a:ea typeface="+mn-ea"/>
                <a:cs typeface="+mn-cs"/>
              </a:defRPr>
            </a:lvl2pPr>
            <a:lvl3pPr marL="685800" indent="-228600" algn="l" defTabSz="914400" rtl="0" eaLnBrk="1" latinLnBrk="0" hangingPunct="1">
              <a:lnSpc>
                <a:spcPct val="100000"/>
              </a:lnSpc>
              <a:spcBef>
                <a:spcPts val="0"/>
              </a:spcBef>
              <a:spcAft>
                <a:spcPts val="1200"/>
              </a:spcAft>
              <a:buClr>
                <a:schemeClr val="accent2"/>
              </a:buClr>
              <a:buFont typeface="System Font Regular"/>
              <a:buChar char="⎻"/>
              <a:defRPr lang="en-US" sz="1800" kern="1200" dirty="0">
                <a:solidFill>
                  <a:srgbClr val="000000"/>
                </a:solidFill>
                <a:latin typeface="+mn-lt"/>
                <a:ea typeface="+mn-ea"/>
                <a:cs typeface="+mn-cs"/>
              </a:defRPr>
            </a:lvl3pPr>
            <a:lvl4pPr marL="1143000" indent="-228600" algn="l" defTabSz="914400" rtl="0" eaLnBrk="1" latinLnBrk="0" hangingPunct="1">
              <a:lnSpc>
                <a:spcPct val="100000"/>
              </a:lnSpc>
              <a:spcBef>
                <a:spcPts val="0"/>
              </a:spcBef>
              <a:spcAft>
                <a:spcPts val="1200"/>
              </a:spcAft>
              <a:buClr>
                <a:schemeClr val="accent2"/>
              </a:buClr>
              <a:buFont typeface="Wingdings" pitchFamily="2" charset="2"/>
              <a:buChar char="§"/>
              <a:defRPr lang="en-US" sz="1500" kern="1200" dirty="0">
                <a:solidFill>
                  <a:srgbClr val="00000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solidFill>
                  <a:schemeClr val="bg1"/>
                </a:solidFill>
                <a:latin typeface="Segoe UI" panose="020B0502040204020203" pitchFamily="34" charset="0"/>
                <a:cs typeface="Segoe UI" panose="020B0502040204020203" pitchFamily="34" charset="0"/>
              </a:rPr>
              <a:t>This strategy uses the interplay between </a:t>
            </a:r>
            <a:r>
              <a:rPr lang="en-US" sz="1400" b="1" dirty="0">
                <a:solidFill>
                  <a:schemeClr val="bg1"/>
                </a:solidFill>
                <a:latin typeface="Segoe UI" panose="020B0502040204020203" pitchFamily="34" charset="0"/>
                <a:cs typeface="Segoe UI" panose="020B0502040204020203" pitchFamily="34" charset="0"/>
              </a:rPr>
              <a:t>supply power</a:t>
            </a:r>
            <a:r>
              <a:rPr lang="en-US" sz="1400" dirty="0">
                <a:solidFill>
                  <a:schemeClr val="bg1"/>
                </a:solidFill>
                <a:latin typeface="Segoe UI" panose="020B0502040204020203" pitchFamily="34" charset="0"/>
                <a:cs typeface="Segoe UI" panose="020B0502040204020203" pitchFamily="34" charset="0"/>
              </a:rPr>
              <a:t> and </a:t>
            </a:r>
            <a:r>
              <a:rPr lang="en-US" sz="1400" b="1" dirty="0">
                <a:solidFill>
                  <a:schemeClr val="bg1"/>
                </a:solidFill>
                <a:latin typeface="Segoe UI" panose="020B0502040204020203" pitchFamily="34" charset="0"/>
                <a:cs typeface="Segoe UI" panose="020B0502040204020203" pitchFamily="34" charset="0"/>
              </a:rPr>
              <a:t>demand power</a:t>
            </a:r>
            <a:r>
              <a:rPr lang="en-US" sz="1400" dirty="0">
                <a:solidFill>
                  <a:schemeClr val="bg1"/>
                </a:solidFill>
                <a:latin typeface="Segoe UI" panose="020B0502040204020203" pitchFamily="34" charset="0"/>
                <a:cs typeface="Segoe UI" panose="020B0502040204020203" pitchFamily="34" charset="0"/>
              </a:rPr>
              <a:t> to select the most effective procurement approach. It provides 64 levers (strategies) based on how much control the supplier or buyer has in the relationship.</a:t>
            </a:r>
          </a:p>
          <a:p>
            <a:endParaRPr lang="en-US" sz="2000" i="1" dirty="0">
              <a:solidFill>
                <a:schemeClr val="bg1"/>
              </a:solidFill>
              <a:latin typeface="Segoe UI" panose="020B0502040204020203" pitchFamily="34" charset="0"/>
              <a:cs typeface="Segoe UI" panose="020B0502040204020203" pitchFamily="34" charset="0"/>
            </a:endParaRPr>
          </a:p>
        </p:txBody>
      </p:sp>
      <p:pic>
        <p:nvPicPr>
          <p:cNvPr id="9" name="Picture 8">
            <a:extLst>
              <a:ext uri="{FF2B5EF4-FFF2-40B4-BE49-F238E27FC236}">
                <a16:creationId xmlns:a16="http://schemas.microsoft.com/office/drawing/2014/main" id="{98E0C092-8AA8-6689-36B8-4B31D1352E26}"/>
              </a:ext>
            </a:extLst>
          </p:cNvPr>
          <p:cNvPicPr>
            <a:picLocks noChangeAspect="1"/>
          </p:cNvPicPr>
          <p:nvPr/>
        </p:nvPicPr>
        <p:blipFill rotWithShape="1">
          <a:blip r:embed="rId3"/>
          <a:srcRect t="1128" r="10620" b="3585"/>
          <a:stretch/>
        </p:blipFill>
        <p:spPr>
          <a:xfrm>
            <a:off x="407998" y="1403136"/>
            <a:ext cx="7263829" cy="4623370"/>
          </a:xfrm>
          <a:prstGeom prst="rect">
            <a:avLst/>
          </a:prstGeom>
        </p:spPr>
      </p:pic>
      <p:sp>
        <p:nvSpPr>
          <p:cNvPr id="20" name="Rectangle 19">
            <a:extLst>
              <a:ext uri="{FF2B5EF4-FFF2-40B4-BE49-F238E27FC236}">
                <a16:creationId xmlns:a16="http://schemas.microsoft.com/office/drawing/2014/main" id="{55FEE330-CE43-2A47-6690-24CB2F5709BE}"/>
              </a:ext>
            </a:extLst>
          </p:cNvPr>
          <p:cNvSpPr/>
          <p:nvPr/>
        </p:nvSpPr>
        <p:spPr>
          <a:xfrm>
            <a:off x="7877288" y="1505878"/>
            <a:ext cx="3886622" cy="1484310"/>
          </a:xfrm>
          <a:prstGeom prst="rect">
            <a:avLst/>
          </a:prstGeom>
          <a:solidFill>
            <a:schemeClr val="accent4">
              <a:lumMod val="75000"/>
              <a:alpha val="11000"/>
            </a:schemeClr>
          </a:solidFill>
          <a:ln w="12700">
            <a:no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rgbClr val="E8D436"/>
                </a:solidFill>
              </a:rPr>
              <a:t>Supply Power</a:t>
            </a:r>
          </a:p>
          <a:p>
            <a:r>
              <a:rPr lang="en-US" sz="1400" dirty="0"/>
              <a:t>How much control suppliers have over the market.</a:t>
            </a:r>
          </a:p>
          <a:p>
            <a:r>
              <a:rPr lang="en-US" sz="1400" b="1" dirty="0"/>
              <a:t>High supply power</a:t>
            </a:r>
            <a:r>
              <a:rPr lang="en-US" sz="1400" dirty="0"/>
              <a:t>: </a:t>
            </a:r>
            <a:r>
              <a:rPr lang="en-US" sz="1200" dirty="0"/>
              <a:t>Suppliers dictate prices or have unique offerings</a:t>
            </a:r>
            <a:r>
              <a:rPr lang="en-US" sz="1400" dirty="0"/>
              <a:t>.</a:t>
            </a:r>
          </a:p>
          <a:p>
            <a:r>
              <a:rPr lang="en-US" sz="1400" b="1" dirty="0"/>
              <a:t>Low supply power</a:t>
            </a:r>
            <a:r>
              <a:rPr lang="en-US" sz="1400" dirty="0"/>
              <a:t>: </a:t>
            </a:r>
            <a:r>
              <a:rPr lang="en-US" sz="1200" dirty="0"/>
              <a:t>Buyers have many alternatives or substitutes</a:t>
            </a:r>
            <a:r>
              <a:rPr lang="en-US" sz="1400" dirty="0"/>
              <a:t>.</a:t>
            </a:r>
          </a:p>
        </p:txBody>
      </p:sp>
      <p:sp>
        <p:nvSpPr>
          <p:cNvPr id="21" name="Rectangle 20">
            <a:extLst>
              <a:ext uri="{FF2B5EF4-FFF2-40B4-BE49-F238E27FC236}">
                <a16:creationId xmlns:a16="http://schemas.microsoft.com/office/drawing/2014/main" id="{06109374-EDD7-7530-DA32-70BAA3BCB440}"/>
              </a:ext>
            </a:extLst>
          </p:cNvPr>
          <p:cNvSpPr/>
          <p:nvPr/>
        </p:nvSpPr>
        <p:spPr>
          <a:xfrm>
            <a:off x="7877289" y="3386990"/>
            <a:ext cx="3886621" cy="1484310"/>
          </a:xfrm>
          <a:prstGeom prst="rect">
            <a:avLst/>
          </a:prstGeom>
          <a:solidFill>
            <a:schemeClr val="accent4">
              <a:lumMod val="75000"/>
              <a:alpha val="11000"/>
            </a:schemeClr>
          </a:solidFill>
          <a:ln w="12700">
            <a:no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rgbClr val="E8D436"/>
                </a:solidFill>
              </a:rPr>
              <a:t>Demand Power</a:t>
            </a:r>
          </a:p>
          <a:p>
            <a:r>
              <a:rPr lang="en-US" sz="1400" dirty="0"/>
              <a:t>How much control buyers have over the market.</a:t>
            </a:r>
          </a:p>
          <a:p>
            <a:r>
              <a:rPr lang="en-US" sz="1400" b="1" dirty="0"/>
              <a:t>High demand power</a:t>
            </a:r>
            <a:r>
              <a:rPr lang="en-US" sz="1400" dirty="0"/>
              <a:t>: </a:t>
            </a:r>
            <a:r>
              <a:rPr lang="en-US" sz="1200" dirty="0"/>
              <a:t>Buyers can influence terms through scale or alternatives</a:t>
            </a:r>
            <a:r>
              <a:rPr lang="en-US" sz="1400" dirty="0"/>
              <a:t>.</a:t>
            </a:r>
          </a:p>
          <a:p>
            <a:r>
              <a:rPr lang="en-US" sz="1400" b="1" dirty="0"/>
              <a:t>Low demand power</a:t>
            </a:r>
            <a:r>
              <a:rPr lang="en-US" sz="1400" dirty="0"/>
              <a:t>: </a:t>
            </a:r>
            <a:r>
              <a:rPr lang="en-US" sz="1200" dirty="0"/>
              <a:t>Buyers rely heavily on specific suppliers.</a:t>
            </a:r>
            <a:endParaRPr lang="en-US" sz="1400" dirty="0"/>
          </a:p>
          <a:p>
            <a:endParaRPr lang="en-US" sz="1400" dirty="0"/>
          </a:p>
        </p:txBody>
      </p:sp>
    </p:spTree>
    <p:extLst>
      <p:ext uri="{BB962C8B-B14F-4D97-AF65-F5344CB8AC3E}">
        <p14:creationId xmlns:p14="http://schemas.microsoft.com/office/powerpoint/2010/main" val="20107387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348F3C3-A6BD-9C45-B3C2-92979D1A01D6}"/>
              </a:ext>
            </a:extLst>
          </p:cNvPr>
          <p:cNvSpPr>
            <a:spLocks noGrp="1"/>
          </p:cNvSpPr>
          <p:nvPr>
            <p:ph type="sldNum" sz="quarter" idx="4294967295"/>
          </p:nvPr>
        </p:nvSpPr>
        <p:spPr>
          <a:xfrm>
            <a:off x="11663363" y="6259513"/>
            <a:ext cx="528637" cy="365125"/>
          </a:xfrm>
        </p:spPr>
        <p:txBody>
          <a:bodyPr/>
          <a:lstStyle/>
          <a:p>
            <a:fld id="{99E61589-955B-3549-AD19-CD847E0672FB}" type="slidenum">
              <a:rPr lang="en-US" smtClean="0"/>
              <a:pPr/>
              <a:t>4</a:t>
            </a:fld>
            <a:endParaRPr lang="en-US" dirty="0"/>
          </a:p>
        </p:txBody>
      </p:sp>
      <p:graphicFrame>
        <p:nvGraphicFramePr>
          <p:cNvPr id="4" name="Table 3">
            <a:extLst>
              <a:ext uri="{FF2B5EF4-FFF2-40B4-BE49-F238E27FC236}">
                <a16:creationId xmlns:a16="http://schemas.microsoft.com/office/drawing/2014/main" id="{4D8A6DA8-4DEB-48CD-E0C3-2906669D4C7A}"/>
              </a:ext>
            </a:extLst>
          </p:cNvPr>
          <p:cNvGraphicFramePr>
            <a:graphicFrameLocks noGrp="1"/>
          </p:cNvGraphicFramePr>
          <p:nvPr>
            <p:extLst>
              <p:ext uri="{D42A27DB-BD31-4B8C-83A1-F6EECF244321}">
                <p14:modId xmlns:p14="http://schemas.microsoft.com/office/powerpoint/2010/main" val="1539600854"/>
              </p:ext>
            </p:extLst>
          </p:nvPr>
        </p:nvGraphicFramePr>
        <p:xfrm>
          <a:off x="219075" y="66674"/>
          <a:ext cx="11601450" cy="6512027"/>
        </p:xfrm>
        <a:graphic>
          <a:graphicData uri="http://schemas.openxmlformats.org/drawingml/2006/table">
            <a:tbl>
              <a:tblPr/>
              <a:tblGrid>
                <a:gridCol w="7676216">
                  <a:extLst>
                    <a:ext uri="{9D8B030D-6E8A-4147-A177-3AD203B41FA5}">
                      <a16:colId xmlns:a16="http://schemas.microsoft.com/office/drawing/2014/main" val="2208280162"/>
                    </a:ext>
                  </a:extLst>
                </a:gridCol>
                <a:gridCol w="857012">
                  <a:extLst>
                    <a:ext uri="{9D8B030D-6E8A-4147-A177-3AD203B41FA5}">
                      <a16:colId xmlns:a16="http://schemas.microsoft.com/office/drawing/2014/main" val="604402421"/>
                    </a:ext>
                  </a:extLst>
                </a:gridCol>
                <a:gridCol w="348505">
                  <a:extLst>
                    <a:ext uri="{9D8B030D-6E8A-4147-A177-3AD203B41FA5}">
                      <a16:colId xmlns:a16="http://schemas.microsoft.com/office/drawing/2014/main" val="2259007904"/>
                    </a:ext>
                  </a:extLst>
                </a:gridCol>
                <a:gridCol w="348505">
                  <a:extLst>
                    <a:ext uri="{9D8B030D-6E8A-4147-A177-3AD203B41FA5}">
                      <a16:colId xmlns:a16="http://schemas.microsoft.com/office/drawing/2014/main" val="2196150312"/>
                    </a:ext>
                  </a:extLst>
                </a:gridCol>
                <a:gridCol w="2371212">
                  <a:extLst>
                    <a:ext uri="{9D8B030D-6E8A-4147-A177-3AD203B41FA5}">
                      <a16:colId xmlns:a16="http://schemas.microsoft.com/office/drawing/2014/main" val="2803819975"/>
                    </a:ext>
                  </a:extLst>
                </a:gridCol>
              </a:tblGrid>
              <a:tr h="166302">
                <a:tc>
                  <a:txBody>
                    <a:bodyPr/>
                    <a:lstStyle/>
                    <a:p>
                      <a:pPr algn="ctr" fontAlgn="t"/>
                      <a:r>
                        <a:rPr lang="en-US" sz="1000" b="1" i="0" u="none" strike="noStrike" dirty="0">
                          <a:solidFill>
                            <a:srgbClr val="FFC000"/>
                          </a:solidFill>
                          <a:effectLst/>
                          <a:latin typeface="Fira Code" pitchFamily="1" charset="0"/>
                          <a:ea typeface="Fira Code" pitchFamily="1" charset="0"/>
                          <a:cs typeface="Fira Code" pitchFamily="1" charset="0"/>
                        </a:rPr>
                        <a:t>Rules</a:t>
                      </a:r>
                    </a:p>
                  </a:txBody>
                  <a:tcPr marL="4627" marR="4627" marT="46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l" fontAlgn="b"/>
                      <a:r>
                        <a:rPr lang="en-US" sz="1050" b="1" i="0" u="none" strike="noStrike">
                          <a:solidFill>
                            <a:srgbClr val="FFC000"/>
                          </a:solidFill>
                          <a:effectLst/>
                          <a:latin typeface="Fira Code" pitchFamily="1" charset="0"/>
                          <a:ea typeface="Fira Code" pitchFamily="1" charset="0"/>
                          <a:cs typeface="Fira Code" pitchFamily="1" charset="0"/>
                        </a:rPr>
                        <a:t>Type</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l" fontAlgn="b"/>
                      <a:r>
                        <a:rPr lang="en-US" sz="1050" b="1" i="0" u="none" strike="noStrike">
                          <a:solidFill>
                            <a:srgbClr val="FFC000"/>
                          </a:solidFill>
                          <a:effectLst/>
                          <a:latin typeface="Fira Code" pitchFamily="1" charset="0"/>
                          <a:ea typeface="Fira Code" pitchFamily="1" charset="0"/>
                          <a:cs typeface="Fira Code" pitchFamily="1" charset="0"/>
                        </a:rPr>
                        <a:t>min</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l" fontAlgn="b"/>
                      <a:r>
                        <a:rPr lang="en-US" sz="1050" b="1" i="0" u="none" strike="noStrike">
                          <a:solidFill>
                            <a:srgbClr val="FFC000"/>
                          </a:solidFill>
                          <a:effectLst/>
                          <a:latin typeface="Fira Code" pitchFamily="1" charset="0"/>
                          <a:ea typeface="Fira Code" pitchFamily="1" charset="0"/>
                          <a:cs typeface="Fira Code" pitchFamily="1" charset="0"/>
                        </a:rPr>
                        <a:t>max</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l" fontAlgn="b"/>
                      <a:r>
                        <a:rPr lang="en-US" sz="1050" b="1" i="0" u="none" strike="noStrike">
                          <a:solidFill>
                            <a:srgbClr val="FFC000"/>
                          </a:solidFill>
                          <a:effectLst/>
                          <a:latin typeface="Fira Code" pitchFamily="1" charset="0"/>
                          <a:ea typeface="Fira Code" pitchFamily="1" charset="0"/>
                          <a:cs typeface="Fira Code" pitchFamily="1" charset="0"/>
                        </a:rPr>
                        <a:t>should be used with</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2628813832"/>
                  </a:ext>
                </a:extLst>
              </a:tr>
              <a:tr h="327930">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Time Between Lot Closing</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chemeClr val="accent6">
                              <a:lumMod val="60000"/>
                              <a:lumOff val="40000"/>
                            </a:schemeClr>
                          </a:solidFill>
                          <a:effectLst/>
                          <a:latin typeface="Fira Code" pitchFamily="1" charset="0"/>
                          <a:ea typeface="Fira Code" pitchFamily="1" charset="0"/>
                          <a:cs typeface="Fira Code" pitchFamily="1" charset="0"/>
                        </a:rPr>
                        <a:t>Time</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1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specifyhowlotbiddingwillbeginandend_Serial</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1138332298"/>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Can Owner See Responses Before Event Closes _Yes</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626765710"/>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Can Participants place Bids During Preview Period _Do Not Allow Pre-Bids</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3687763109"/>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Can Participants Place Bids During Preview Period _Require Pre-bids</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814961459"/>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Can Participants See Ranks? _No</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095733840"/>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Can Participants See Ranks? _Their Own Rank</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1106206848"/>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Can Participants See Ranks? _Their Own Rank When Leading</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dirty="0">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3460764729"/>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Can Participants Submit Tie Bids _no Tie Bids</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454107121"/>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Can Participants Submit Tie Bids _no Tie Bids For Rank 1</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1695666106"/>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Can Participants Submit Tie Bids _No Tie Bids For Rank 2 Or Better</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269203435"/>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Can Participants Submit Tie Bids _no Tie Bids For Rank 3 Or Better</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3160439785"/>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Create A Buffer To Protect Lead Bid _yes</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3251896486"/>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Enable Preview Period Before Bidding Opens _yes</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4144510070"/>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Enable Traffic Light Bidding _Yes</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3837995622"/>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Improve Bid Amount By _Percentage</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3870118935"/>
                  </a:ext>
                </a:extLst>
              </a:tr>
              <a:tr h="235066">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Indicate To Participants That Participant-specific Initial Values Have Been Specified _Yes</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372075382"/>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Require Participant To Give Areas On For Declining To Bid _Yes</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dirty="0">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392580877"/>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Set Are View Period After Lot Or Item Closes _yes</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005788108"/>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Show Line-Item Level Rankin Lot _yes, To Buyers And Participants</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3950777318"/>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Show Line-Item Level Ranking Lot _Yes, To Buyers Onl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dirty="0">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3593703992"/>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Show Calculated Value Of Competitive Term Before Participant Submits Bid _Yes</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3643476427"/>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Show Formulas To All Participants _yes</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dirty="0">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1340553661"/>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Show Lead Bid To All Participants _No</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dirty="0">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443040845"/>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Show Lead Bid To All Participants _yes</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3053930222"/>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Specify How Lot Bidding Will Begin And End _Serial</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dirty="0">
                          <a:solidFill>
                            <a:srgbClr val="000000"/>
                          </a:solidFill>
                          <a:effectLst/>
                          <a:latin typeface="Fira Code" pitchFamily="1" charset="0"/>
                          <a:ea typeface="Fira Code" pitchFamily="1" charset="0"/>
                          <a:cs typeface="Fira Code" pitchFamily="1" charset="0"/>
                        </a:rPr>
                        <a:t>Time between lot closing</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010822948"/>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Specify How Lot Bidding Will Begin And End_ Staggered</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560687592"/>
                  </a:ext>
                </a:extLst>
              </a:tr>
              <a:tr h="281006">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Specify How Participants View Market Information _Enable A Starting Gate For Each Lot</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3770702795"/>
                  </a:ext>
                </a:extLst>
              </a:tr>
              <a:tr h="312537">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Specify How Participants View Market Information _Enable One Starting Gate For The Entire Event</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dirty="0">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131750985"/>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Set Are View Period After Lot Closes _Yes</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49343989"/>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Day _ type_ weekend</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161163118"/>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Bidding Period</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kern="1200" dirty="0">
                          <a:solidFill>
                            <a:schemeClr val="accent6">
                              <a:lumMod val="60000"/>
                              <a:lumOff val="40000"/>
                            </a:schemeClr>
                          </a:solidFill>
                          <a:effectLst/>
                          <a:latin typeface="Fira Code" pitchFamily="1" charset="0"/>
                          <a:ea typeface="Fira Code" pitchFamily="1" charset="0"/>
                          <a:cs typeface="Fira Code" pitchFamily="1" charset="0"/>
                        </a:rPr>
                        <a:t>Time</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10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715185963"/>
                  </a:ext>
                </a:extLst>
              </a:tr>
              <a:tr h="204800">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Bid Rank That Triggers overtime</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70C0"/>
                          </a:solidFill>
                          <a:effectLst/>
                          <a:latin typeface="Fira Code" pitchFamily="1" charset="0"/>
                          <a:ea typeface="Fira Code" pitchFamily="1" charset="0"/>
                          <a:cs typeface="Fira Code" pitchFamily="1" charset="0"/>
                        </a:rPr>
                        <a:t>Int</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5</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Allow bidding overtime</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1756153300"/>
                  </a:ext>
                </a:extLst>
              </a:tr>
              <a:tr h="166302">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Review Time Period</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kern="1200" dirty="0">
                          <a:solidFill>
                            <a:schemeClr val="accent6">
                              <a:lumMod val="60000"/>
                              <a:lumOff val="40000"/>
                            </a:schemeClr>
                          </a:solidFill>
                          <a:effectLst/>
                          <a:latin typeface="Fira Code" pitchFamily="1" charset="0"/>
                          <a:ea typeface="Fira Code" pitchFamily="1" charset="0"/>
                          <a:cs typeface="Fira Code" pitchFamily="1" charset="0"/>
                        </a:rPr>
                        <a:t>Time</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a:solidFill>
                            <a:srgbClr val="000000"/>
                          </a:solidFill>
                          <a:effectLst/>
                          <a:latin typeface="Fira Code" pitchFamily="1" charset="0"/>
                          <a:ea typeface="Fira Code" pitchFamily="1" charset="0"/>
                          <a:cs typeface="Fira Code" pitchFamily="1" charset="0"/>
                        </a:rPr>
                        <a:t>1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a:solidFill>
                            <a:srgbClr val="000000"/>
                          </a:solidFill>
                          <a:effectLst/>
                          <a:latin typeface="Fira Code" pitchFamily="1" charset="0"/>
                          <a:ea typeface="Fira Code" pitchFamily="1" charset="0"/>
                          <a:cs typeface="Fira Code" pitchFamily="1" charset="0"/>
                        </a:rPr>
                        <a:t> </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3811786838"/>
                  </a:ext>
                </a:extLst>
              </a:tr>
              <a:tr h="327930">
                <a:tc>
                  <a:txBody>
                    <a:bodyPr/>
                    <a:lstStyle/>
                    <a:p>
                      <a:pPr lvl="1" algn="l" fontAlgn="b"/>
                      <a:r>
                        <a:rPr lang="en-US" sz="1000" b="0" i="0" u="none" strike="noStrike" dirty="0">
                          <a:solidFill>
                            <a:srgbClr val="000000"/>
                          </a:solidFill>
                          <a:effectLst/>
                          <a:latin typeface="Fira Code" pitchFamily="1" charset="0"/>
                          <a:ea typeface="Fira Code" pitchFamily="1" charset="0"/>
                          <a:cs typeface="Fira Code" pitchFamily="1" charset="0"/>
                        </a:rPr>
                        <a:t>Allow Bidding Overtime</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Binary</a:t>
                      </a:r>
                    </a:p>
                  </a:txBody>
                  <a:tcPr marL="4627" marR="4627" marT="4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1</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50" b="1" i="0" u="none" strike="noStrike" dirty="0">
                          <a:solidFill>
                            <a:srgbClr val="000000"/>
                          </a:solidFill>
                          <a:effectLst/>
                          <a:latin typeface="Fira Code" pitchFamily="1" charset="0"/>
                          <a:ea typeface="Fira Code" pitchFamily="1" charset="0"/>
                          <a:cs typeface="Fira Code" pitchFamily="1" charset="0"/>
                        </a:rPr>
                        <a:t>0</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50" b="0" i="0" u="none" strike="noStrike" dirty="0">
                          <a:solidFill>
                            <a:srgbClr val="000000"/>
                          </a:solidFill>
                          <a:effectLst/>
                          <a:latin typeface="Fira Code" pitchFamily="1" charset="0"/>
                          <a:ea typeface="Fira Code" pitchFamily="1" charset="0"/>
                          <a:cs typeface="Fira Code" pitchFamily="1" charset="0"/>
                        </a:rPr>
                        <a:t>bid rank that triggers overtime</a:t>
                      </a:r>
                    </a:p>
                  </a:txBody>
                  <a:tcPr marL="4627" marR="4627" marT="46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587615627"/>
                  </a:ext>
                </a:extLst>
              </a:tr>
            </a:tbl>
          </a:graphicData>
        </a:graphic>
      </p:graphicFrame>
    </p:spTree>
    <p:extLst>
      <p:ext uri="{BB962C8B-B14F-4D97-AF65-F5344CB8AC3E}">
        <p14:creationId xmlns:p14="http://schemas.microsoft.com/office/powerpoint/2010/main" val="5942611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96C14FE-7C16-8AFF-2C11-731AFECEF396}"/>
              </a:ext>
            </a:extLst>
          </p:cNvPr>
          <p:cNvSpPr/>
          <p:nvPr/>
        </p:nvSpPr>
        <p:spPr>
          <a:xfrm>
            <a:off x="435136" y="1490369"/>
            <a:ext cx="7344404" cy="2508976"/>
          </a:xfrm>
          <a:prstGeom prst="rect">
            <a:avLst/>
          </a:prstGeom>
          <a:noFill/>
          <a:ln>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F5CFD198-2B16-AA71-0906-5446BEA8348A}"/>
              </a:ext>
            </a:extLst>
          </p:cNvPr>
          <p:cNvSpPr txBox="1"/>
          <p:nvPr/>
        </p:nvSpPr>
        <p:spPr>
          <a:xfrm>
            <a:off x="1011589" y="1629162"/>
            <a:ext cx="2524447" cy="364330"/>
          </a:xfrm>
          <a:prstGeom prst="rect">
            <a:avLst/>
          </a:prstGeom>
          <a:noFill/>
        </p:spPr>
        <p:txBody>
          <a:bodyPr wrap="square" lIns="91440" tIns="45720" rIns="91440" bIns="45720" rtlCol="0" anchor="t">
            <a:noAutofit/>
          </a:bodyPr>
          <a:lstStyle>
            <a:defPPr>
              <a:defRPr lang="en-US"/>
            </a:defPPr>
            <a:lvl1pPr>
              <a:defRPr b="1">
                <a:solidFill>
                  <a:srgbClr val="E8D436"/>
                </a:solidFill>
              </a:defRPr>
            </a:lvl1pPr>
          </a:lstStyle>
          <a:p>
            <a:r>
              <a:rPr lang="en-US" dirty="0">
                <a:solidFill>
                  <a:schemeClr val="tx1"/>
                </a:solidFill>
                <a:latin typeface="Fira Code" pitchFamily="1" charset="0"/>
                <a:ea typeface="Fira Code" pitchFamily="1" charset="0"/>
                <a:cs typeface="Fira Code" pitchFamily="1" charset="0"/>
              </a:rPr>
              <a:t>Binary variables</a:t>
            </a:r>
          </a:p>
        </p:txBody>
      </p:sp>
      <p:grpSp>
        <p:nvGrpSpPr>
          <p:cNvPr id="54" name="Group 53">
            <a:extLst>
              <a:ext uri="{FF2B5EF4-FFF2-40B4-BE49-F238E27FC236}">
                <a16:creationId xmlns:a16="http://schemas.microsoft.com/office/drawing/2014/main" id="{CF1B300E-B14A-4C2C-16F7-15E94AED943B}"/>
              </a:ext>
            </a:extLst>
          </p:cNvPr>
          <p:cNvGrpSpPr/>
          <p:nvPr/>
        </p:nvGrpSpPr>
        <p:grpSpPr>
          <a:xfrm>
            <a:off x="181970" y="523164"/>
            <a:ext cx="11782568" cy="841446"/>
            <a:chOff x="181970" y="523164"/>
            <a:chExt cx="11782568" cy="841446"/>
          </a:xfrm>
        </p:grpSpPr>
        <p:grpSp>
          <p:nvGrpSpPr>
            <p:cNvPr id="49" name="Group 48">
              <a:extLst>
                <a:ext uri="{FF2B5EF4-FFF2-40B4-BE49-F238E27FC236}">
                  <a16:creationId xmlns:a16="http://schemas.microsoft.com/office/drawing/2014/main" id="{C945C0A1-F5CD-981A-3AA7-EF6CA2C38DB1}"/>
                </a:ext>
              </a:extLst>
            </p:cNvPr>
            <p:cNvGrpSpPr/>
            <p:nvPr/>
          </p:nvGrpSpPr>
          <p:grpSpPr>
            <a:xfrm>
              <a:off x="181970" y="523164"/>
              <a:ext cx="11782568" cy="841446"/>
              <a:chOff x="0" y="0"/>
              <a:chExt cx="12192000" cy="1023416"/>
            </a:xfrm>
          </p:grpSpPr>
          <p:sp>
            <p:nvSpPr>
              <p:cNvPr id="42" name="Rectangle 41">
                <a:extLst>
                  <a:ext uri="{FF2B5EF4-FFF2-40B4-BE49-F238E27FC236}">
                    <a16:creationId xmlns:a16="http://schemas.microsoft.com/office/drawing/2014/main" id="{AEBFD281-38F4-874B-D770-21CE20BA6165}"/>
                  </a:ext>
                </a:extLst>
              </p:cNvPr>
              <p:cNvSpPr/>
              <p:nvPr/>
            </p:nvSpPr>
            <p:spPr>
              <a:xfrm>
                <a:off x="0" y="0"/>
                <a:ext cx="12192000" cy="101569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46" name="Picture 45" descr="A hand touching a gear&#10;&#10;Description automatically generated with medium confidence">
                <a:extLst>
                  <a:ext uri="{FF2B5EF4-FFF2-40B4-BE49-F238E27FC236}">
                    <a16:creationId xmlns:a16="http://schemas.microsoft.com/office/drawing/2014/main" id="{561E579C-43CA-378E-79A3-045876456521}"/>
                  </a:ext>
                </a:extLst>
              </p:cNvPr>
              <p:cNvPicPr>
                <a:picLocks noChangeAspect="1"/>
              </p:cNvPicPr>
              <p:nvPr/>
            </p:nvPicPr>
            <p:blipFill rotWithShape="1">
              <a:blip r:embed="rId2">
                <a:alphaModFix amt="30000"/>
                <a:extLst>
                  <a:ext uri="{28A0092B-C50C-407E-A947-70E740481C1C}">
                    <a14:useLocalDpi xmlns:a14="http://schemas.microsoft.com/office/drawing/2010/main" val="0"/>
                  </a:ext>
                </a:extLst>
              </a:blip>
              <a:srcRect t="52961" b="32116"/>
              <a:stretch/>
            </p:blipFill>
            <p:spPr>
              <a:xfrm flipH="1">
                <a:off x="0" y="0"/>
                <a:ext cx="12192000" cy="1023416"/>
              </a:xfrm>
              <a:prstGeom prst="rect">
                <a:avLst/>
              </a:prstGeom>
            </p:spPr>
          </p:pic>
          <p:cxnSp>
            <p:nvCxnSpPr>
              <p:cNvPr id="48" name="Straight Connector 47">
                <a:extLst>
                  <a:ext uri="{FF2B5EF4-FFF2-40B4-BE49-F238E27FC236}">
                    <a16:creationId xmlns:a16="http://schemas.microsoft.com/office/drawing/2014/main" id="{643C9DF7-CFDD-341F-6A3D-47B0DFECB28D}"/>
                  </a:ext>
                </a:extLst>
              </p:cNvPr>
              <p:cNvCxnSpPr/>
              <p:nvPr/>
            </p:nvCxnSpPr>
            <p:spPr>
              <a:xfrm>
                <a:off x="0" y="1019175"/>
                <a:ext cx="12192000" cy="0"/>
              </a:xfrm>
              <a:prstGeom prst="line">
                <a:avLst/>
              </a:prstGeom>
              <a:ln w="3175">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grpSp>
        <p:sp>
          <p:nvSpPr>
            <p:cNvPr id="52" name="TextBox 51">
              <a:extLst>
                <a:ext uri="{FF2B5EF4-FFF2-40B4-BE49-F238E27FC236}">
                  <a16:creationId xmlns:a16="http://schemas.microsoft.com/office/drawing/2014/main" id="{F5399AC6-8BE0-22CC-7B31-554193FED74C}"/>
                </a:ext>
              </a:extLst>
            </p:cNvPr>
            <p:cNvSpPr txBox="1"/>
            <p:nvPr/>
          </p:nvSpPr>
          <p:spPr>
            <a:xfrm>
              <a:off x="209264" y="641445"/>
              <a:ext cx="11657387"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dirty="0">
                  <a:latin typeface="+mj-lt"/>
                </a:rPr>
                <a:t>AUCTION VARIABLES TO MODIFY FOR MAX EFFICIENCY</a:t>
              </a:r>
            </a:p>
          </p:txBody>
        </p:sp>
      </p:grpSp>
      <p:sp>
        <p:nvSpPr>
          <p:cNvPr id="12" name="TextBox 11">
            <a:extLst>
              <a:ext uri="{FF2B5EF4-FFF2-40B4-BE49-F238E27FC236}">
                <a16:creationId xmlns:a16="http://schemas.microsoft.com/office/drawing/2014/main" id="{B2A245BE-DADE-F78A-0DCF-A27F11F94FCD}"/>
              </a:ext>
            </a:extLst>
          </p:cNvPr>
          <p:cNvSpPr txBox="1"/>
          <p:nvPr/>
        </p:nvSpPr>
        <p:spPr>
          <a:xfrm>
            <a:off x="460331" y="2132285"/>
            <a:ext cx="7344404" cy="1769715"/>
          </a:xfrm>
          <a:prstGeom prst="rect">
            <a:avLst/>
          </a:prstGeom>
          <a:noFill/>
        </p:spPr>
        <p:txBody>
          <a:bodyPr wrap="square" lIns="91440" tIns="45720" rIns="91440" bIns="45720" anchor="t">
            <a:spAutoFit/>
          </a:bodyPr>
          <a:lstStyle/>
          <a:p>
            <a:pPr marL="285750" indent="-285750">
              <a:spcAft>
                <a:spcPts val="600"/>
              </a:spcAft>
              <a:buFont typeface="Wingdings" panose="05000000000000000000" pitchFamily="2" charset="2"/>
              <a:buChar char="§"/>
            </a:pPr>
            <a:r>
              <a:rPr lang="en-US" sz="1400" b="0" dirty="0">
                <a:effectLst/>
                <a:latin typeface="Fira Code" pitchFamily="1" charset="0"/>
              </a:rPr>
              <a:t>Can participants place bids during preview period? </a:t>
            </a:r>
          </a:p>
          <a:p>
            <a:pPr marL="285750" indent="-285750">
              <a:spcAft>
                <a:spcPts val="600"/>
              </a:spcAft>
              <a:buFont typeface="Wingdings" panose="05000000000000000000" pitchFamily="2" charset="2"/>
              <a:buChar char="§"/>
            </a:pPr>
            <a:r>
              <a:rPr lang="en-US" sz="1400" b="0" dirty="0">
                <a:effectLst/>
                <a:latin typeface="Fira Code" pitchFamily="1" charset="0"/>
              </a:rPr>
              <a:t>Improve bid amount by percentage</a:t>
            </a:r>
            <a:r>
              <a:rPr lang="en-US" sz="1400" dirty="0">
                <a:latin typeface="Fira Code" pitchFamily="1" charset="0"/>
              </a:rPr>
              <a:t>?</a:t>
            </a:r>
          </a:p>
          <a:p>
            <a:pPr marL="285750" indent="-285750">
              <a:spcAft>
                <a:spcPts val="600"/>
              </a:spcAft>
              <a:buFont typeface="Wingdings" panose="05000000000000000000" pitchFamily="2" charset="2"/>
              <a:buChar char="§"/>
            </a:pPr>
            <a:r>
              <a:rPr lang="en-US" sz="1400" b="0" dirty="0">
                <a:effectLst/>
                <a:latin typeface="Fira Code" pitchFamily="1" charset="0"/>
              </a:rPr>
              <a:t>Show line-item level rank in lot to buyers and participants?</a:t>
            </a:r>
          </a:p>
          <a:p>
            <a:pPr marL="285750" indent="-285750">
              <a:spcAft>
                <a:spcPts val="600"/>
              </a:spcAft>
              <a:buFont typeface="Wingdings" panose="05000000000000000000" pitchFamily="2" charset="2"/>
              <a:buChar char="§"/>
            </a:pPr>
            <a:r>
              <a:rPr lang="en-US" sz="1400" b="0" dirty="0">
                <a:effectLst/>
                <a:latin typeface="Fira Code" pitchFamily="1" charset="0"/>
              </a:rPr>
              <a:t>Enable traffic light bidding</a:t>
            </a:r>
            <a:r>
              <a:rPr lang="en-US" sz="1400" dirty="0">
                <a:latin typeface="Fira Code" pitchFamily="1" charset="0"/>
              </a:rPr>
              <a:t>?</a:t>
            </a:r>
          </a:p>
          <a:p>
            <a:pPr marL="285750" indent="-285750">
              <a:spcAft>
                <a:spcPts val="600"/>
              </a:spcAft>
              <a:buFont typeface="Wingdings" panose="05000000000000000000" pitchFamily="2" charset="2"/>
              <a:buChar char="§"/>
            </a:pPr>
            <a:r>
              <a:rPr lang="en-US" sz="1400" b="0" dirty="0">
                <a:effectLst/>
                <a:latin typeface="Fira Code" pitchFamily="1" charset="0"/>
              </a:rPr>
              <a:t>Set a review period after lot closes?</a:t>
            </a:r>
          </a:p>
          <a:p>
            <a:pPr marL="285750" indent="-285750">
              <a:spcAft>
                <a:spcPts val="600"/>
              </a:spcAft>
              <a:buFont typeface="Wingdings" panose="05000000000000000000" pitchFamily="2" charset="2"/>
              <a:buChar char="§"/>
            </a:pPr>
            <a:r>
              <a:rPr lang="en-US" sz="1400" b="0" dirty="0">
                <a:effectLst/>
                <a:latin typeface="Fira Code" pitchFamily="1" charset="0"/>
              </a:rPr>
              <a:t>Can participants see ranks</a:t>
            </a:r>
            <a:r>
              <a:rPr lang="en-US" sz="1400" dirty="0">
                <a:latin typeface="Fira Code" pitchFamily="1" charset="0"/>
              </a:rPr>
              <a:t>?</a:t>
            </a:r>
            <a:endParaRPr lang="en-US" sz="1400" dirty="0">
              <a:ea typeface="+mn-lt"/>
              <a:cs typeface="+mn-lt"/>
            </a:endParaRPr>
          </a:p>
        </p:txBody>
      </p:sp>
      <p:pic>
        <p:nvPicPr>
          <p:cNvPr id="3" name="Picture 2">
            <a:extLst>
              <a:ext uri="{FF2B5EF4-FFF2-40B4-BE49-F238E27FC236}">
                <a16:creationId xmlns:a16="http://schemas.microsoft.com/office/drawing/2014/main" id="{9C524FAD-ECE4-1C25-6C52-5EB34F42E704}"/>
              </a:ext>
            </a:extLst>
          </p:cNvPr>
          <p:cNvPicPr>
            <a:picLocks noChangeAspect="1"/>
          </p:cNvPicPr>
          <p:nvPr/>
        </p:nvPicPr>
        <p:blipFill>
          <a:blip r:embed="rId3"/>
          <a:stretch>
            <a:fillRect/>
          </a:stretch>
        </p:blipFill>
        <p:spPr>
          <a:xfrm>
            <a:off x="524767" y="1574883"/>
            <a:ext cx="518057" cy="518057"/>
          </a:xfrm>
          <a:prstGeom prst="rect">
            <a:avLst/>
          </a:prstGeom>
        </p:spPr>
      </p:pic>
      <p:sp>
        <p:nvSpPr>
          <p:cNvPr id="10" name="Rectangle 9">
            <a:extLst>
              <a:ext uri="{FF2B5EF4-FFF2-40B4-BE49-F238E27FC236}">
                <a16:creationId xmlns:a16="http://schemas.microsoft.com/office/drawing/2014/main" id="{C55135FE-661F-44AC-E1A2-1C54CD20E61B}"/>
              </a:ext>
            </a:extLst>
          </p:cNvPr>
          <p:cNvSpPr/>
          <p:nvPr/>
        </p:nvSpPr>
        <p:spPr>
          <a:xfrm>
            <a:off x="435137" y="4083859"/>
            <a:ext cx="7344404" cy="1961721"/>
          </a:xfrm>
          <a:prstGeom prst="rect">
            <a:avLst/>
          </a:prstGeom>
          <a:noFill/>
          <a:ln>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9A60F691-7052-F1C9-B57E-2F5B00C6DD25}"/>
              </a:ext>
            </a:extLst>
          </p:cNvPr>
          <p:cNvSpPr txBox="1"/>
          <p:nvPr/>
        </p:nvSpPr>
        <p:spPr>
          <a:xfrm>
            <a:off x="1011589" y="4214665"/>
            <a:ext cx="3047782" cy="364330"/>
          </a:xfrm>
          <a:prstGeom prst="rect">
            <a:avLst/>
          </a:prstGeom>
          <a:noFill/>
        </p:spPr>
        <p:txBody>
          <a:bodyPr wrap="square" lIns="91440" tIns="45720" rIns="91440" bIns="45720" rtlCol="0" anchor="t">
            <a:noAutofit/>
          </a:bodyPr>
          <a:lstStyle>
            <a:defPPr>
              <a:defRPr lang="en-US"/>
            </a:defPPr>
            <a:lvl1pPr>
              <a:defRPr b="1">
                <a:solidFill>
                  <a:srgbClr val="E8D436"/>
                </a:solidFill>
              </a:defRPr>
            </a:lvl1pPr>
          </a:lstStyle>
          <a:p>
            <a:r>
              <a:rPr lang="en-US" dirty="0">
                <a:solidFill>
                  <a:schemeClr val="tx1"/>
                </a:solidFill>
                <a:latin typeface="Fira Code" pitchFamily="1" charset="0"/>
                <a:ea typeface="Fira Code" pitchFamily="1" charset="0"/>
                <a:cs typeface="Fira Code" pitchFamily="1" charset="0"/>
              </a:rPr>
              <a:t>Continuous variables</a:t>
            </a:r>
          </a:p>
        </p:txBody>
      </p:sp>
      <p:sp>
        <p:nvSpPr>
          <p:cNvPr id="13" name="TextBox 12">
            <a:extLst>
              <a:ext uri="{FF2B5EF4-FFF2-40B4-BE49-F238E27FC236}">
                <a16:creationId xmlns:a16="http://schemas.microsoft.com/office/drawing/2014/main" id="{907BD1CE-E659-EAA6-3F92-1E1AD7606887}"/>
              </a:ext>
            </a:extLst>
          </p:cNvPr>
          <p:cNvSpPr txBox="1"/>
          <p:nvPr/>
        </p:nvSpPr>
        <p:spPr>
          <a:xfrm>
            <a:off x="783795" y="4638604"/>
            <a:ext cx="6474255" cy="1215717"/>
          </a:xfrm>
          <a:prstGeom prst="rect">
            <a:avLst/>
          </a:prstGeom>
          <a:noFill/>
        </p:spPr>
        <p:txBody>
          <a:bodyPr wrap="square" lIns="91440" tIns="45720" rIns="91440" bIns="45720" anchor="t">
            <a:spAutoFit/>
          </a:bodyPr>
          <a:lstStyle/>
          <a:p>
            <a:pPr marL="285750" indent="-285750">
              <a:spcAft>
                <a:spcPts val="600"/>
              </a:spcAft>
              <a:buFont typeface="Wingdings" panose="05000000000000000000" pitchFamily="2" charset="2"/>
              <a:buChar char="§"/>
            </a:pPr>
            <a:r>
              <a:rPr lang="en-US" sz="1600" dirty="0">
                <a:latin typeface="Fira Code" pitchFamily="1" charset="0"/>
              </a:rPr>
              <a:t>Review</a:t>
            </a:r>
            <a:r>
              <a:rPr lang="en-US" sz="1400" b="0" dirty="0">
                <a:effectLst/>
                <a:latin typeface="Fira Code" pitchFamily="1" charset="0"/>
              </a:rPr>
              <a:t> </a:t>
            </a:r>
            <a:r>
              <a:rPr lang="en-US" sz="1600" dirty="0">
                <a:latin typeface="Fira Code" pitchFamily="1" charset="0"/>
              </a:rPr>
              <a:t>time period</a:t>
            </a:r>
            <a:r>
              <a:rPr lang="en-US" sz="1400" dirty="0">
                <a:latin typeface="Fira Code" pitchFamily="1" charset="0"/>
              </a:rPr>
              <a:t> </a:t>
            </a:r>
            <a:r>
              <a:rPr lang="en-US" sz="1600" dirty="0">
                <a:latin typeface="Fira Code" pitchFamily="1" charset="0"/>
              </a:rPr>
              <a:t>?</a:t>
            </a:r>
            <a:r>
              <a:rPr lang="en-US" sz="1400" b="0" dirty="0">
                <a:effectLst/>
                <a:latin typeface="Fira Code" pitchFamily="1" charset="0"/>
              </a:rPr>
              <a:t> </a:t>
            </a:r>
          </a:p>
          <a:p>
            <a:pPr marL="285750" indent="-285750">
              <a:spcAft>
                <a:spcPts val="600"/>
              </a:spcAft>
              <a:buFont typeface="Wingdings" panose="05000000000000000000" pitchFamily="2" charset="2"/>
              <a:buChar char="§"/>
            </a:pPr>
            <a:r>
              <a:rPr lang="en-US" sz="1400" b="0" dirty="0">
                <a:effectLst/>
                <a:latin typeface="Fira Code" pitchFamily="1" charset="0"/>
              </a:rPr>
              <a:t>Bidding period ?</a:t>
            </a:r>
          </a:p>
          <a:p>
            <a:pPr marL="285750" indent="-285750">
              <a:spcAft>
                <a:spcPts val="600"/>
              </a:spcAft>
              <a:buFont typeface="Wingdings" panose="05000000000000000000" pitchFamily="2" charset="2"/>
              <a:buChar char="§"/>
            </a:pPr>
            <a:r>
              <a:rPr lang="en-US" sz="1400" dirty="0">
                <a:effectLst/>
                <a:latin typeface="Fira Code" pitchFamily="1" charset="0"/>
              </a:rPr>
              <a:t>Overtime period(minutes)?</a:t>
            </a:r>
          </a:p>
          <a:p>
            <a:pPr marL="285750" indent="-285750">
              <a:spcAft>
                <a:spcPts val="600"/>
              </a:spcAft>
              <a:buFont typeface="Wingdings" panose="05000000000000000000" pitchFamily="2" charset="2"/>
              <a:buChar char="§"/>
            </a:pPr>
            <a:r>
              <a:rPr lang="en-US" sz="1400" dirty="0">
                <a:effectLst/>
                <a:latin typeface="Fira Code" pitchFamily="1" charset="0"/>
              </a:rPr>
              <a:t>Bid rank that triggers overtime?</a:t>
            </a:r>
          </a:p>
        </p:txBody>
      </p:sp>
      <p:pic>
        <p:nvPicPr>
          <p:cNvPr id="23" name="Picture 22">
            <a:extLst>
              <a:ext uri="{FF2B5EF4-FFF2-40B4-BE49-F238E27FC236}">
                <a16:creationId xmlns:a16="http://schemas.microsoft.com/office/drawing/2014/main" id="{6913108F-BEA9-E749-5D3D-7703C1775EC5}"/>
              </a:ext>
            </a:extLst>
          </p:cNvPr>
          <p:cNvPicPr>
            <a:picLocks noChangeAspect="1"/>
          </p:cNvPicPr>
          <p:nvPr/>
        </p:nvPicPr>
        <p:blipFill>
          <a:blip r:embed="rId4"/>
          <a:stretch>
            <a:fillRect/>
          </a:stretch>
        </p:blipFill>
        <p:spPr>
          <a:xfrm>
            <a:off x="517163" y="4156360"/>
            <a:ext cx="494426" cy="494426"/>
          </a:xfrm>
          <a:prstGeom prst="rect">
            <a:avLst/>
          </a:prstGeom>
        </p:spPr>
      </p:pic>
      <p:sp>
        <p:nvSpPr>
          <p:cNvPr id="24" name="Rectangle 23">
            <a:extLst>
              <a:ext uri="{FF2B5EF4-FFF2-40B4-BE49-F238E27FC236}">
                <a16:creationId xmlns:a16="http://schemas.microsoft.com/office/drawing/2014/main" id="{DFC45B0C-68E1-186C-BF64-063AAF35054C}"/>
              </a:ext>
            </a:extLst>
          </p:cNvPr>
          <p:cNvSpPr/>
          <p:nvPr/>
        </p:nvSpPr>
        <p:spPr>
          <a:xfrm>
            <a:off x="7894366" y="1493220"/>
            <a:ext cx="4077312" cy="4552355"/>
          </a:xfrm>
          <a:prstGeom prst="rect">
            <a:avLst/>
          </a:prstGeom>
          <a:noFill/>
          <a:ln>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CE470BA4-4E03-F662-A976-ACCC09E5E164}"/>
              </a:ext>
            </a:extLst>
          </p:cNvPr>
          <p:cNvSpPr txBox="1"/>
          <p:nvPr/>
        </p:nvSpPr>
        <p:spPr>
          <a:xfrm>
            <a:off x="8726495" y="1539632"/>
            <a:ext cx="3140156" cy="364330"/>
          </a:xfrm>
          <a:prstGeom prst="rect">
            <a:avLst/>
          </a:prstGeom>
          <a:noFill/>
        </p:spPr>
        <p:txBody>
          <a:bodyPr wrap="square" lIns="91440" tIns="45720" rIns="91440" bIns="45720" rtlCol="0" anchor="t">
            <a:noAutofit/>
          </a:bodyPr>
          <a:lstStyle>
            <a:defPPr>
              <a:defRPr lang="en-US"/>
            </a:defPPr>
            <a:lvl1pPr>
              <a:defRPr b="1">
                <a:solidFill>
                  <a:srgbClr val="E8D436"/>
                </a:solidFill>
              </a:defRPr>
            </a:lvl1pPr>
          </a:lstStyle>
          <a:p>
            <a:r>
              <a:rPr lang="en-US" dirty="0">
                <a:solidFill>
                  <a:schemeClr val="tx1"/>
                </a:solidFill>
                <a:latin typeface="Fira Code" pitchFamily="1" charset="0"/>
                <a:ea typeface="Fira Code" pitchFamily="1" charset="0"/>
                <a:cs typeface="Fira Code" pitchFamily="1" charset="0"/>
              </a:rPr>
              <a:t>Logical Constraints</a:t>
            </a:r>
          </a:p>
        </p:txBody>
      </p:sp>
      <p:pic>
        <p:nvPicPr>
          <p:cNvPr id="2050" name="Picture 2" descr="Yes or No - Apps on Google Play">
            <a:extLst>
              <a:ext uri="{FF2B5EF4-FFF2-40B4-BE49-F238E27FC236}">
                <a16:creationId xmlns:a16="http://schemas.microsoft.com/office/drawing/2014/main" id="{80BC6F25-1C22-95C9-68AE-56AED039118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92694" y="2216371"/>
            <a:ext cx="1080655" cy="1080655"/>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pslz="http://schemas.microsoft.com/office/powerpoint/2016/slidezoom" Requires="pslz">
          <p:graphicFrame>
            <p:nvGraphicFramePr>
              <p:cNvPr id="33" name="Slide Zoom 32">
                <a:extLst>
                  <a:ext uri="{FF2B5EF4-FFF2-40B4-BE49-F238E27FC236}">
                    <a16:creationId xmlns:a16="http://schemas.microsoft.com/office/drawing/2014/main" id="{7324A3FB-CE6B-D521-A6F7-552A94AC32DA}"/>
                  </a:ext>
                </a:extLst>
              </p:cNvPr>
              <p:cNvGraphicFramePr>
                <a:graphicFrameLocks noChangeAspect="1"/>
              </p:cNvGraphicFramePr>
              <p:nvPr>
                <p:extLst>
                  <p:ext uri="{D42A27DB-BD31-4B8C-83A1-F6EECF244321}">
                    <p14:modId xmlns:p14="http://schemas.microsoft.com/office/powerpoint/2010/main" val="176908463"/>
                  </p:ext>
                </p:extLst>
              </p:nvPr>
            </p:nvGraphicFramePr>
            <p:xfrm>
              <a:off x="8005615" y="3685918"/>
              <a:ext cx="3854812" cy="2168332"/>
            </p:xfrm>
            <a:graphic>
              <a:graphicData uri="http://schemas.microsoft.com/office/powerpoint/2016/slidezoom">
                <pslz:sldZm>
                  <pslz:sldZmObj sldId="2147483467" cId="594261173">
                    <pslz:zmPr id="{D6C4C776-F6A0-4625-BFEA-C086AF846529}" returnToParent="0" transitionDur="1000">
                      <p166:blipFill xmlns:p166="http://schemas.microsoft.com/office/powerpoint/2016/6/main">
                        <a:blip r:embed="rId6"/>
                        <a:stretch>
                          <a:fillRect/>
                        </a:stretch>
                      </p166:blipFill>
                      <p166:spPr xmlns:p166="http://schemas.microsoft.com/office/powerpoint/2016/6/main">
                        <a:xfrm>
                          <a:off x="0" y="0"/>
                          <a:ext cx="3854812" cy="2168332"/>
                        </a:xfrm>
                        <a:prstGeom prst="rect">
                          <a:avLst/>
                        </a:prstGeom>
                        <a:ln w="3175">
                          <a:solidFill>
                            <a:prstClr val="ltGray"/>
                          </a:solidFill>
                        </a:ln>
                      </p166:spPr>
                    </pslz:zmPr>
                  </pslz:sldZmObj>
                </pslz:sldZm>
              </a:graphicData>
            </a:graphic>
          </p:graphicFrame>
        </mc:Choice>
        <mc:Fallback>
          <p:pic>
            <p:nvPicPr>
              <p:cNvPr id="33" name="Slide Zoom 32">
                <a:hlinkClick r:id="rId7" action="ppaction://hlinksldjump"/>
                <a:extLst>
                  <a:ext uri="{FF2B5EF4-FFF2-40B4-BE49-F238E27FC236}">
                    <a16:creationId xmlns:a16="http://schemas.microsoft.com/office/drawing/2014/main" id="{7324A3FB-CE6B-D521-A6F7-552A94AC32DA}"/>
                  </a:ext>
                </a:extLst>
              </p:cNvPr>
              <p:cNvPicPr>
                <a:picLocks noGrp="1" noRot="1" noChangeAspect="1" noMove="1" noResize="1" noEditPoints="1" noAdjustHandles="1" noChangeArrowheads="1" noChangeShapeType="1"/>
              </p:cNvPicPr>
              <p:nvPr/>
            </p:nvPicPr>
            <p:blipFill>
              <a:blip r:embed="rId6"/>
              <a:stretch>
                <a:fillRect/>
              </a:stretch>
            </p:blipFill>
            <p:spPr>
              <a:xfrm>
                <a:off x="8005615" y="3685918"/>
                <a:ext cx="3854812" cy="2168332"/>
              </a:xfrm>
              <a:prstGeom prst="rect">
                <a:avLst/>
              </a:prstGeom>
              <a:ln w="3175">
                <a:solidFill>
                  <a:prstClr val="ltGray"/>
                </a:solidFill>
              </a:ln>
            </p:spPr>
          </p:pic>
        </mc:Fallback>
      </mc:AlternateContent>
      <p:pic>
        <p:nvPicPr>
          <p:cNvPr id="44" name="Picture 43">
            <a:extLst>
              <a:ext uri="{FF2B5EF4-FFF2-40B4-BE49-F238E27FC236}">
                <a16:creationId xmlns:a16="http://schemas.microsoft.com/office/drawing/2014/main" id="{3A8EA5C0-75C0-4321-6822-14960E99E28A}"/>
              </a:ext>
            </a:extLst>
          </p:cNvPr>
          <p:cNvPicPr>
            <a:picLocks noChangeAspect="1"/>
          </p:cNvPicPr>
          <p:nvPr/>
        </p:nvPicPr>
        <p:blipFill>
          <a:blip r:embed="rId8"/>
          <a:stretch>
            <a:fillRect/>
          </a:stretch>
        </p:blipFill>
        <p:spPr>
          <a:xfrm>
            <a:off x="7997811" y="1458902"/>
            <a:ext cx="660414" cy="660414"/>
          </a:xfrm>
          <a:prstGeom prst="rect">
            <a:avLst/>
          </a:prstGeom>
        </p:spPr>
      </p:pic>
    </p:spTree>
    <p:extLst>
      <p:ext uri="{BB962C8B-B14F-4D97-AF65-F5344CB8AC3E}">
        <p14:creationId xmlns:p14="http://schemas.microsoft.com/office/powerpoint/2010/main" val="15527994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B64CF4-463B-4B90-55E5-01729CAB2488}"/>
              </a:ext>
            </a:extLst>
          </p:cNvPr>
          <p:cNvSpPr/>
          <p:nvPr/>
        </p:nvSpPr>
        <p:spPr>
          <a:xfrm>
            <a:off x="10500189" y="143838"/>
            <a:ext cx="1561672" cy="606175"/>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780EF0B3-EC25-BFF6-AFFC-8120BBC3D4E5}"/>
              </a:ext>
            </a:extLst>
          </p:cNvPr>
          <p:cNvSpPr txBox="1"/>
          <p:nvPr/>
        </p:nvSpPr>
        <p:spPr>
          <a:xfrm>
            <a:off x="418250" y="124489"/>
            <a:ext cx="10859785" cy="584775"/>
          </a:xfrm>
          <a:prstGeom prst="rect">
            <a:avLst/>
          </a:prstGeom>
          <a:noFill/>
        </p:spPr>
        <p:txBody>
          <a:bodyPr wrap="square" rtlCol="0">
            <a:spAutoFit/>
          </a:bodyPr>
          <a:lstStyle/>
          <a:p>
            <a:r>
              <a:rPr lang="en-US" sz="3200" b="1">
                <a:solidFill>
                  <a:schemeClr val="accent1">
                    <a:lumMod val="20000"/>
                    <a:lumOff val="80000"/>
                  </a:schemeClr>
                </a:solidFill>
                <a:latin typeface="Aptos" panose="020B0004020202020204" pitchFamily="34" charset="0"/>
              </a:rPr>
              <a:t>OPTIMISATION LAYER</a:t>
            </a:r>
            <a:endParaRPr lang="en-US" sz="4800" b="1">
              <a:latin typeface="Aptos" panose="020B0004020202020204" pitchFamily="34" charset="0"/>
            </a:endParaRPr>
          </a:p>
        </p:txBody>
      </p:sp>
      <p:cxnSp>
        <p:nvCxnSpPr>
          <p:cNvPr id="4" name="Straight Connector 3">
            <a:extLst>
              <a:ext uri="{FF2B5EF4-FFF2-40B4-BE49-F238E27FC236}">
                <a16:creationId xmlns:a16="http://schemas.microsoft.com/office/drawing/2014/main" id="{AE97D858-2543-2756-5716-308E6D0B03FA}"/>
              </a:ext>
            </a:extLst>
          </p:cNvPr>
          <p:cNvCxnSpPr/>
          <p:nvPr/>
        </p:nvCxnSpPr>
        <p:spPr>
          <a:xfrm>
            <a:off x="407998" y="239648"/>
            <a:ext cx="0" cy="457200"/>
          </a:xfrm>
          <a:prstGeom prst="line">
            <a:avLst/>
          </a:prstGeom>
          <a:ln w="57150">
            <a:solidFill>
              <a:srgbClr val="F1D809"/>
            </a:solidFill>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EFB6638E-0E82-5D2C-8A6E-2B5C45EDF84B}"/>
              </a:ext>
            </a:extLst>
          </p:cNvPr>
          <p:cNvSpPr txBox="1"/>
          <p:nvPr/>
        </p:nvSpPr>
        <p:spPr>
          <a:xfrm>
            <a:off x="231371" y="5223949"/>
            <a:ext cx="5942611" cy="1015663"/>
          </a:xfrm>
          <a:prstGeom prst="rect">
            <a:avLst/>
          </a:prstGeom>
          <a:noFill/>
        </p:spPr>
        <p:txBody>
          <a:bodyPr wrap="square" rtlCol="0">
            <a:spAutoFit/>
          </a:bodyPr>
          <a:lstStyle/>
          <a:p>
            <a:r>
              <a:rPr lang="en-US" sz="1000" dirty="0">
                <a:solidFill>
                  <a:schemeClr val="bg1"/>
                </a:solidFill>
                <a:latin typeface="Fira Code" pitchFamily="1" charset="0"/>
                <a:ea typeface="Fira Code" pitchFamily="1" charset="0"/>
                <a:cs typeface="Fira Code" pitchFamily="1" charset="0"/>
              </a:rPr>
              <a:t>The optimization algorithm used is </a:t>
            </a:r>
            <a:r>
              <a:rPr lang="en-US" sz="1000" i="1" dirty="0" err="1">
                <a:solidFill>
                  <a:schemeClr val="bg1"/>
                </a:solidFill>
                <a:latin typeface="Fira Code" pitchFamily="1" charset="0"/>
                <a:ea typeface="Fira Code" pitchFamily="1" charset="0"/>
                <a:cs typeface="Fira Code" pitchFamily="1" charset="0"/>
              </a:rPr>
              <a:t>COBYLA</a:t>
            </a:r>
            <a:endParaRPr lang="en-US" sz="1000" i="1" dirty="0">
              <a:solidFill>
                <a:schemeClr val="bg1"/>
              </a:solidFill>
              <a:latin typeface="Fira Code" pitchFamily="1" charset="0"/>
              <a:ea typeface="Fira Code" pitchFamily="1" charset="0"/>
              <a:cs typeface="Fira Code" pitchFamily="1" charset="0"/>
            </a:endParaRPr>
          </a:p>
          <a:p>
            <a:r>
              <a:rPr lang="en-US" sz="1000" dirty="0">
                <a:solidFill>
                  <a:schemeClr val="bg1"/>
                </a:solidFill>
                <a:latin typeface="Fira Code" pitchFamily="1" charset="0"/>
                <a:ea typeface="Fira Code" pitchFamily="1" charset="0"/>
                <a:cs typeface="Fira Code" pitchFamily="1" charset="0"/>
              </a:rPr>
              <a:t>(Constrained Optimization BY Linear Approximations)</a:t>
            </a:r>
          </a:p>
          <a:p>
            <a:r>
              <a:rPr lang="en-US" sz="1000" dirty="0">
                <a:solidFill>
                  <a:schemeClr val="bg1"/>
                </a:solidFill>
                <a:latin typeface="Fira Code" pitchFamily="1" charset="0"/>
                <a:ea typeface="Fira Code" pitchFamily="1" charset="0"/>
                <a:cs typeface="Fira Code" pitchFamily="1" charset="0"/>
              </a:rPr>
              <a:t>numerical optimization algorithm designed for solving constrained optimization problems where the objective and constraint functions are nonlinear and can be evaluated but do not have a known gradient (In our case </a:t>
            </a:r>
            <a:r>
              <a:rPr lang="en-US" sz="1000" dirty="0" err="1">
                <a:solidFill>
                  <a:schemeClr val="bg1"/>
                </a:solidFill>
                <a:latin typeface="Fira Code" pitchFamily="1" charset="0"/>
                <a:ea typeface="Fira Code" pitchFamily="1" charset="0"/>
                <a:cs typeface="Fira Code" pitchFamily="1" charset="0"/>
              </a:rPr>
              <a:t>Catboost</a:t>
            </a:r>
            <a:r>
              <a:rPr lang="en-US" sz="1000" dirty="0">
                <a:solidFill>
                  <a:schemeClr val="bg1"/>
                </a:solidFill>
                <a:latin typeface="Fira Code" pitchFamily="1" charset="0"/>
                <a:ea typeface="Fira Code" pitchFamily="1" charset="0"/>
                <a:cs typeface="Fira Code" pitchFamily="1" charset="0"/>
              </a:rPr>
              <a:t>.)</a:t>
            </a:r>
          </a:p>
        </p:txBody>
      </p:sp>
      <p:sp>
        <p:nvSpPr>
          <p:cNvPr id="6" name="TextBox 5">
            <a:extLst>
              <a:ext uri="{FF2B5EF4-FFF2-40B4-BE49-F238E27FC236}">
                <a16:creationId xmlns:a16="http://schemas.microsoft.com/office/drawing/2014/main" id="{6F3AE9F9-B054-0A65-3DC7-05C1A1D7F23A}"/>
              </a:ext>
            </a:extLst>
          </p:cNvPr>
          <p:cNvSpPr txBox="1"/>
          <p:nvPr/>
        </p:nvSpPr>
        <p:spPr>
          <a:xfrm>
            <a:off x="861138" y="1280919"/>
            <a:ext cx="5424249" cy="461665"/>
          </a:xfrm>
          <a:prstGeom prst="rect">
            <a:avLst/>
          </a:prstGeom>
          <a:noFill/>
        </p:spPr>
        <p:txBody>
          <a:bodyPr wrap="square" rtlCol="0">
            <a:spAutoFit/>
          </a:bodyPr>
          <a:lstStyle/>
          <a:p>
            <a:r>
              <a:rPr lang="en-US" sz="1200" dirty="0">
                <a:solidFill>
                  <a:schemeClr val="accent1">
                    <a:lumMod val="60000"/>
                    <a:lumOff val="40000"/>
                  </a:schemeClr>
                </a:solidFill>
                <a:latin typeface="Fira Code" pitchFamily="1" charset="0"/>
                <a:ea typeface="Fira Code" pitchFamily="1" charset="0"/>
                <a:cs typeface="Fira Code" pitchFamily="1" charset="0"/>
              </a:rPr>
              <a:t>Optimized for events at 3 different hierarchies to mitigate asymmetric bias in data</a:t>
            </a:r>
          </a:p>
        </p:txBody>
      </p:sp>
      <p:pic>
        <p:nvPicPr>
          <p:cNvPr id="5122" name="Picture 2">
            <a:extLst>
              <a:ext uri="{FF2B5EF4-FFF2-40B4-BE49-F238E27FC236}">
                <a16:creationId xmlns:a16="http://schemas.microsoft.com/office/drawing/2014/main" id="{4BC66E3A-F582-0C10-E44D-6AFC17E40A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9250" y="1168181"/>
            <a:ext cx="5942611" cy="4817339"/>
          </a:xfrm>
          <a:prstGeom prst="rect">
            <a:avLst/>
          </a:prstGeom>
          <a:noFill/>
          <a:extLst>
            <a:ext uri="{909E8E84-426E-40DD-AFC4-6F175D3DCCD1}">
              <a14:hiddenFill xmlns:a14="http://schemas.microsoft.com/office/drawing/2010/main">
                <a:solidFill>
                  <a:srgbClr val="FFFFFF"/>
                </a:solidFill>
              </a14:hiddenFill>
            </a:ext>
          </a:extLst>
        </p:spPr>
      </p:pic>
      <p:pic>
        <p:nvPicPr>
          <p:cNvPr id="9" name="Graphic 8" descr="Africa with solid fill">
            <a:extLst>
              <a:ext uri="{FF2B5EF4-FFF2-40B4-BE49-F238E27FC236}">
                <a16:creationId xmlns:a16="http://schemas.microsoft.com/office/drawing/2014/main" id="{A7DB4099-7DE1-298A-8A9A-58D70174E13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46132" y="2830225"/>
            <a:ext cx="889318" cy="889318"/>
          </a:xfrm>
          <a:prstGeom prst="rect">
            <a:avLst/>
          </a:prstGeom>
        </p:spPr>
      </p:pic>
      <p:sp>
        <p:nvSpPr>
          <p:cNvPr id="12" name="TextBox 11">
            <a:extLst>
              <a:ext uri="{FF2B5EF4-FFF2-40B4-BE49-F238E27FC236}">
                <a16:creationId xmlns:a16="http://schemas.microsoft.com/office/drawing/2014/main" id="{8696F163-3841-704F-0179-D804CCE85D9A}"/>
              </a:ext>
            </a:extLst>
          </p:cNvPr>
          <p:cNvSpPr txBox="1"/>
          <p:nvPr/>
        </p:nvSpPr>
        <p:spPr>
          <a:xfrm>
            <a:off x="35071" y="2303534"/>
            <a:ext cx="6094520" cy="369332"/>
          </a:xfrm>
          <a:prstGeom prst="rect">
            <a:avLst/>
          </a:prstGeom>
          <a:noFill/>
        </p:spPr>
        <p:txBody>
          <a:bodyPr wrap="square">
            <a:spAutoFit/>
          </a:bodyPr>
          <a:lstStyle/>
          <a:p>
            <a:pPr marL="342900" indent="-342900">
              <a:buFont typeface="Wingdings" panose="05000000000000000000" pitchFamily="2" charset="2"/>
              <a:buChar char="Ø"/>
            </a:pPr>
            <a:r>
              <a:rPr lang="en-US" sz="1800" dirty="0">
                <a:solidFill>
                  <a:schemeClr val="accent1">
                    <a:lumMod val="60000"/>
                    <a:lumOff val="40000"/>
                  </a:schemeClr>
                </a:solidFill>
              </a:rPr>
              <a:t>ZONE</a:t>
            </a:r>
          </a:p>
        </p:txBody>
      </p:sp>
      <p:sp>
        <p:nvSpPr>
          <p:cNvPr id="14" name="TextBox 13">
            <a:extLst>
              <a:ext uri="{FF2B5EF4-FFF2-40B4-BE49-F238E27FC236}">
                <a16:creationId xmlns:a16="http://schemas.microsoft.com/office/drawing/2014/main" id="{53C193DD-CE8D-A051-536E-9C3E8A5CFE75}"/>
              </a:ext>
            </a:extLst>
          </p:cNvPr>
          <p:cNvSpPr txBox="1"/>
          <p:nvPr/>
        </p:nvSpPr>
        <p:spPr>
          <a:xfrm>
            <a:off x="1272052" y="2302512"/>
            <a:ext cx="1971069" cy="369332"/>
          </a:xfrm>
          <a:prstGeom prst="rect">
            <a:avLst/>
          </a:prstGeom>
          <a:noFill/>
        </p:spPr>
        <p:txBody>
          <a:bodyPr wrap="square">
            <a:spAutoFit/>
          </a:bodyPr>
          <a:lstStyle/>
          <a:p>
            <a:pPr marL="342900" indent="-342900">
              <a:buFont typeface="Wingdings" panose="05000000000000000000" pitchFamily="2" charset="2"/>
              <a:buChar char="Ø"/>
            </a:pPr>
            <a:r>
              <a:rPr lang="en-US" sz="1800" dirty="0">
                <a:solidFill>
                  <a:schemeClr val="accent1">
                    <a:lumMod val="60000"/>
                    <a:lumOff val="40000"/>
                  </a:schemeClr>
                </a:solidFill>
              </a:rPr>
              <a:t>CATEGORY</a:t>
            </a:r>
          </a:p>
        </p:txBody>
      </p:sp>
      <p:sp>
        <p:nvSpPr>
          <p:cNvPr id="16" name="TextBox 15">
            <a:extLst>
              <a:ext uri="{FF2B5EF4-FFF2-40B4-BE49-F238E27FC236}">
                <a16:creationId xmlns:a16="http://schemas.microsoft.com/office/drawing/2014/main" id="{BA13DA05-FF2F-3194-A10A-18E17EB60FDB}"/>
              </a:ext>
            </a:extLst>
          </p:cNvPr>
          <p:cNvSpPr txBox="1"/>
          <p:nvPr/>
        </p:nvSpPr>
        <p:spPr>
          <a:xfrm>
            <a:off x="3215500" y="2320261"/>
            <a:ext cx="6094520" cy="369332"/>
          </a:xfrm>
          <a:prstGeom prst="rect">
            <a:avLst/>
          </a:prstGeom>
          <a:noFill/>
        </p:spPr>
        <p:txBody>
          <a:bodyPr wrap="square">
            <a:spAutoFit/>
          </a:bodyPr>
          <a:lstStyle/>
          <a:p>
            <a:pPr marL="342900" indent="-342900">
              <a:buFont typeface="Wingdings" panose="05000000000000000000" pitchFamily="2" charset="2"/>
              <a:buChar char="Ø"/>
            </a:pPr>
            <a:r>
              <a:rPr lang="en-US" sz="1800" dirty="0">
                <a:solidFill>
                  <a:schemeClr val="accent1">
                    <a:lumMod val="60000"/>
                    <a:lumOff val="40000"/>
                  </a:schemeClr>
                </a:solidFill>
              </a:rPr>
              <a:t>ZONE x CATEGORY</a:t>
            </a:r>
          </a:p>
        </p:txBody>
      </p:sp>
      <p:pic>
        <p:nvPicPr>
          <p:cNvPr id="20" name="Graphic 19" descr="Truck with solid fill">
            <a:extLst>
              <a:ext uri="{FF2B5EF4-FFF2-40B4-BE49-F238E27FC236}">
                <a16:creationId xmlns:a16="http://schemas.microsoft.com/office/drawing/2014/main" id="{0308B74A-173D-3009-2E34-E11EE0084D51}"/>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705561" y="2751479"/>
            <a:ext cx="914400" cy="914400"/>
          </a:xfrm>
          <a:prstGeom prst="rect">
            <a:avLst/>
          </a:prstGeom>
        </p:spPr>
      </p:pic>
      <p:grpSp>
        <p:nvGrpSpPr>
          <p:cNvPr id="35" name="Group 34">
            <a:extLst>
              <a:ext uri="{FF2B5EF4-FFF2-40B4-BE49-F238E27FC236}">
                <a16:creationId xmlns:a16="http://schemas.microsoft.com/office/drawing/2014/main" id="{108082DD-38FF-C21A-25CA-4D246795388A}"/>
              </a:ext>
            </a:extLst>
          </p:cNvPr>
          <p:cNvGrpSpPr/>
          <p:nvPr/>
        </p:nvGrpSpPr>
        <p:grpSpPr>
          <a:xfrm>
            <a:off x="3602545" y="2773258"/>
            <a:ext cx="1996492" cy="964931"/>
            <a:chOff x="3338005" y="3180342"/>
            <a:chExt cx="1996492" cy="964931"/>
          </a:xfrm>
        </p:grpSpPr>
        <p:pic>
          <p:nvPicPr>
            <p:cNvPr id="22" name="Graphic 21" descr="Truck with solid fill">
              <a:extLst>
                <a:ext uri="{FF2B5EF4-FFF2-40B4-BE49-F238E27FC236}">
                  <a16:creationId xmlns:a16="http://schemas.microsoft.com/office/drawing/2014/main" id="{51C12D6D-7395-A2FE-81DA-BA40D1B53A9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388582" y="3180342"/>
              <a:ext cx="792000" cy="792000"/>
            </a:xfrm>
            <a:prstGeom prst="rect">
              <a:avLst/>
            </a:prstGeom>
          </p:spPr>
        </p:pic>
        <p:grpSp>
          <p:nvGrpSpPr>
            <p:cNvPr id="34" name="Group 33">
              <a:extLst>
                <a:ext uri="{FF2B5EF4-FFF2-40B4-BE49-F238E27FC236}">
                  <a16:creationId xmlns:a16="http://schemas.microsoft.com/office/drawing/2014/main" id="{BC8C73F0-6FEC-C5D9-AD2B-F51D323E15E3}"/>
                </a:ext>
              </a:extLst>
            </p:cNvPr>
            <p:cNvGrpSpPr/>
            <p:nvPr/>
          </p:nvGrpSpPr>
          <p:grpSpPr>
            <a:xfrm>
              <a:off x="3338005" y="3230873"/>
              <a:ext cx="1996492" cy="914400"/>
              <a:chOff x="3338005" y="3230873"/>
              <a:chExt cx="1996492" cy="914400"/>
            </a:xfrm>
          </p:grpSpPr>
          <p:pic>
            <p:nvPicPr>
              <p:cNvPr id="21" name="Graphic 20" descr="Africa with solid fill">
                <a:extLst>
                  <a:ext uri="{FF2B5EF4-FFF2-40B4-BE49-F238E27FC236}">
                    <a16:creationId xmlns:a16="http://schemas.microsoft.com/office/drawing/2014/main" id="{FC377727-40AE-1F6F-6309-57DCCD207DFA}"/>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426560" y="3301896"/>
                <a:ext cx="720000" cy="720000"/>
              </a:xfrm>
              <a:prstGeom prst="rect">
                <a:avLst/>
              </a:prstGeom>
            </p:spPr>
          </p:pic>
          <p:sp>
            <p:nvSpPr>
              <p:cNvPr id="23" name="Cross 22">
                <a:extLst>
                  <a:ext uri="{FF2B5EF4-FFF2-40B4-BE49-F238E27FC236}">
                    <a16:creationId xmlns:a16="http://schemas.microsoft.com/office/drawing/2014/main" id="{82B3B14F-9836-BEFA-C69D-288F87AE5F15}"/>
                  </a:ext>
                </a:extLst>
              </p:cNvPr>
              <p:cNvSpPr/>
              <p:nvPr/>
            </p:nvSpPr>
            <p:spPr>
              <a:xfrm rot="2631958">
                <a:off x="4091672" y="3455086"/>
                <a:ext cx="252000" cy="252000"/>
              </a:xfrm>
              <a:prstGeom prst="plus">
                <a:avLst>
                  <a:gd name="adj" fmla="val 40853"/>
                </a:avLst>
              </a:prstGeom>
              <a:solidFill>
                <a:schemeClr val="tx2">
                  <a:lumMod val="60000"/>
                  <a:lumOff val="40000"/>
                </a:schemeClr>
              </a:solidFill>
              <a:ln w="9350" cap="flat">
                <a:solidFill>
                  <a:schemeClr val="bg2">
                    <a:lumMod val="10000"/>
                  </a:schemeClr>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Left Bracket 24">
                <a:extLst>
                  <a:ext uri="{FF2B5EF4-FFF2-40B4-BE49-F238E27FC236}">
                    <a16:creationId xmlns:a16="http://schemas.microsoft.com/office/drawing/2014/main" id="{4BF5FE14-CC57-93DC-B545-5CC0B0AD5DE6}"/>
                  </a:ext>
                </a:extLst>
              </p:cNvPr>
              <p:cNvSpPr/>
              <p:nvPr/>
            </p:nvSpPr>
            <p:spPr>
              <a:xfrm>
                <a:off x="3338005" y="3230873"/>
                <a:ext cx="282769" cy="914400"/>
              </a:xfrm>
              <a:prstGeom prst="leftBracket">
                <a:avLst>
                  <a:gd name="adj" fmla="val 15141"/>
                </a:avLst>
              </a:prstGeom>
              <a:ln w="28575">
                <a:solidFill>
                  <a:srgbClr val="E5C78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Left Bracket 25">
                <a:extLst>
                  <a:ext uri="{FF2B5EF4-FFF2-40B4-BE49-F238E27FC236}">
                    <a16:creationId xmlns:a16="http://schemas.microsoft.com/office/drawing/2014/main" id="{FF432357-9205-207D-1EF2-77E005D9B7A6}"/>
                  </a:ext>
                </a:extLst>
              </p:cNvPr>
              <p:cNvSpPr/>
              <p:nvPr/>
            </p:nvSpPr>
            <p:spPr>
              <a:xfrm flipH="1">
                <a:off x="5051728" y="3230873"/>
                <a:ext cx="282769" cy="914400"/>
              </a:xfrm>
              <a:prstGeom prst="leftBracket">
                <a:avLst>
                  <a:gd name="adj" fmla="val 15141"/>
                </a:avLst>
              </a:prstGeom>
              <a:ln w="28575">
                <a:solidFill>
                  <a:srgbClr val="E5C78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28" name="TextBox 27">
            <a:extLst>
              <a:ext uri="{FF2B5EF4-FFF2-40B4-BE49-F238E27FC236}">
                <a16:creationId xmlns:a16="http://schemas.microsoft.com/office/drawing/2014/main" id="{5DB5863D-17BF-5478-F6C4-FAC729098DEA}"/>
              </a:ext>
            </a:extLst>
          </p:cNvPr>
          <p:cNvSpPr txBox="1"/>
          <p:nvPr/>
        </p:nvSpPr>
        <p:spPr>
          <a:xfrm>
            <a:off x="339301" y="3938441"/>
            <a:ext cx="1043673" cy="307777"/>
          </a:xfrm>
          <a:prstGeom prst="rect">
            <a:avLst/>
          </a:prstGeom>
          <a:noFill/>
        </p:spPr>
        <p:txBody>
          <a:bodyPr wrap="square">
            <a:spAutoFit/>
          </a:bodyPr>
          <a:lstStyle/>
          <a:p>
            <a:r>
              <a:rPr lang="en-US" sz="1400" dirty="0">
                <a:solidFill>
                  <a:schemeClr val="accent1">
                    <a:lumMod val="60000"/>
                    <a:lumOff val="40000"/>
                  </a:schemeClr>
                </a:solidFill>
              </a:rPr>
              <a:t>Events</a:t>
            </a:r>
            <a:endParaRPr lang="en-US" sz="1400" dirty="0"/>
          </a:p>
        </p:txBody>
      </p:sp>
      <p:sp>
        <p:nvSpPr>
          <p:cNvPr id="29" name="TextBox 28">
            <a:extLst>
              <a:ext uri="{FF2B5EF4-FFF2-40B4-BE49-F238E27FC236}">
                <a16:creationId xmlns:a16="http://schemas.microsoft.com/office/drawing/2014/main" id="{E98D5CD3-8C6D-B9B0-A7E4-54E25425C986}"/>
              </a:ext>
            </a:extLst>
          </p:cNvPr>
          <p:cNvSpPr txBox="1"/>
          <p:nvPr/>
        </p:nvSpPr>
        <p:spPr>
          <a:xfrm>
            <a:off x="1924685" y="3932938"/>
            <a:ext cx="1043673" cy="307777"/>
          </a:xfrm>
          <a:prstGeom prst="rect">
            <a:avLst/>
          </a:prstGeom>
          <a:noFill/>
        </p:spPr>
        <p:txBody>
          <a:bodyPr wrap="square">
            <a:spAutoFit/>
          </a:bodyPr>
          <a:lstStyle/>
          <a:p>
            <a:r>
              <a:rPr lang="en-US" sz="1400" dirty="0">
                <a:solidFill>
                  <a:schemeClr val="accent1">
                    <a:lumMod val="60000"/>
                    <a:lumOff val="40000"/>
                  </a:schemeClr>
                </a:solidFill>
              </a:rPr>
              <a:t>Events</a:t>
            </a:r>
            <a:endParaRPr lang="en-US" sz="1400" dirty="0"/>
          </a:p>
        </p:txBody>
      </p:sp>
      <p:sp>
        <p:nvSpPr>
          <p:cNvPr id="30" name="TextBox 29">
            <a:extLst>
              <a:ext uri="{FF2B5EF4-FFF2-40B4-BE49-F238E27FC236}">
                <a16:creationId xmlns:a16="http://schemas.microsoft.com/office/drawing/2014/main" id="{DBF7153A-42E4-0B60-A45B-996F55DF12F5}"/>
              </a:ext>
            </a:extLst>
          </p:cNvPr>
          <p:cNvSpPr txBox="1"/>
          <p:nvPr/>
        </p:nvSpPr>
        <p:spPr>
          <a:xfrm>
            <a:off x="4123343" y="3938442"/>
            <a:ext cx="1043673" cy="307777"/>
          </a:xfrm>
          <a:prstGeom prst="rect">
            <a:avLst/>
          </a:prstGeom>
          <a:noFill/>
        </p:spPr>
        <p:txBody>
          <a:bodyPr wrap="square">
            <a:spAutoFit/>
          </a:bodyPr>
          <a:lstStyle/>
          <a:p>
            <a:r>
              <a:rPr lang="en-US" sz="1400" dirty="0">
                <a:solidFill>
                  <a:schemeClr val="accent1">
                    <a:lumMod val="60000"/>
                    <a:lumOff val="40000"/>
                  </a:schemeClr>
                </a:solidFill>
              </a:rPr>
              <a:t>Events</a:t>
            </a:r>
            <a:endParaRPr lang="en-US" sz="1400" dirty="0"/>
          </a:p>
        </p:txBody>
      </p:sp>
      <p:cxnSp>
        <p:nvCxnSpPr>
          <p:cNvPr id="32" name="Straight Connector 31">
            <a:extLst>
              <a:ext uri="{FF2B5EF4-FFF2-40B4-BE49-F238E27FC236}">
                <a16:creationId xmlns:a16="http://schemas.microsoft.com/office/drawing/2014/main" id="{BEF9995A-DD65-1448-73AA-2EE1B88C53AD}"/>
              </a:ext>
            </a:extLst>
          </p:cNvPr>
          <p:cNvCxnSpPr/>
          <p:nvPr/>
        </p:nvCxnSpPr>
        <p:spPr>
          <a:xfrm flipV="1">
            <a:off x="1289365" y="2108487"/>
            <a:ext cx="0" cy="2487801"/>
          </a:xfrm>
          <a:prstGeom prst="line">
            <a:avLst/>
          </a:prstGeom>
          <a:ln w="38100">
            <a:solidFill>
              <a:srgbClr val="E5C788"/>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0ED142B-4F44-182F-29EE-B84A06C4C3AC}"/>
              </a:ext>
            </a:extLst>
          </p:cNvPr>
          <p:cNvCxnSpPr/>
          <p:nvPr/>
        </p:nvCxnSpPr>
        <p:spPr>
          <a:xfrm flipV="1">
            <a:off x="3171109" y="2113352"/>
            <a:ext cx="0" cy="2487801"/>
          </a:xfrm>
          <a:prstGeom prst="line">
            <a:avLst/>
          </a:prstGeom>
          <a:ln w="38100">
            <a:solidFill>
              <a:srgbClr val="E5C788"/>
            </a:solidFill>
            <a:prstDash val="sysDash"/>
          </a:ln>
        </p:spPr>
        <p:style>
          <a:lnRef idx="1">
            <a:schemeClr val="accent1"/>
          </a:lnRef>
          <a:fillRef idx="0">
            <a:schemeClr val="accent1"/>
          </a:fillRef>
          <a:effectRef idx="0">
            <a:schemeClr val="accent1"/>
          </a:effectRef>
          <a:fontRef idx="minor">
            <a:schemeClr val="tx1"/>
          </a:fontRef>
        </p:style>
      </p:cxnSp>
      <p:pic>
        <p:nvPicPr>
          <p:cNvPr id="41" name="Picture 40">
            <a:extLst>
              <a:ext uri="{FF2B5EF4-FFF2-40B4-BE49-F238E27FC236}">
                <a16:creationId xmlns:a16="http://schemas.microsoft.com/office/drawing/2014/main" id="{442A2813-B847-F214-53B9-2698DDA85CA4}"/>
              </a:ext>
            </a:extLst>
          </p:cNvPr>
          <p:cNvPicPr>
            <a:picLocks noChangeAspect="1"/>
          </p:cNvPicPr>
          <p:nvPr/>
        </p:nvPicPr>
        <p:blipFill>
          <a:blip r:embed="rId7"/>
          <a:stretch>
            <a:fillRect/>
          </a:stretch>
        </p:blipFill>
        <p:spPr>
          <a:xfrm>
            <a:off x="257015" y="1266386"/>
            <a:ext cx="504000" cy="504000"/>
          </a:xfrm>
          <a:prstGeom prst="rect">
            <a:avLst/>
          </a:prstGeom>
        </p:spPr>
      </p:pic>
    </p:spTree>
    <p:extLst>
      <p:ext uri="{BB962C8B-B14F-4D97-AF65-F5344CB8AC3E}">
        <p14:creationId xmlns:p14="http://schemas.microsoft.com/office/powerpoint/2010/main" val="15154263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3F4B36A-7815-5DEE-AF6F-3832003B0A26}"/>
              </a:ext>
            </a:extLst>
          </p:cNvPr>
          <p:cNvPicPr>
            <a:picLocks noChangeAspect="1"/>
          </p:cNvPicPr>
          <p:nvPr/>
        </p:nvPicPr>
        <p:blipFill>
          <a:blip r:embed="rId2"/>
          <a:stretch>
            <a:fillRect/>
          </a:stretch>
        </p:blipFill>
        <p:spPr>
          <a:xfrm>
            <a:off x="346441" y="639472"/>
            <a:ext cx="10883811" cy="1921178"/>
          </a:xfrm>
          <a:prstGeom prst="rect">
            <a:avLst/>
          </a:prstGeom>
        </p:spPr>
      </p:pic>
      <p:pic>
        <p:nvPicPr>
          <p:cNvPr id="3" name="Picture 2">
            <a:extLst>
              <a:ext uri="{FF2B5EF4-FFF2-40B4-BE49-F238E27FC236}">
                <a16:creationId xmlns:a16="http://schemas.microsoft.com/office/drawing/2014/main" id="{50A9BA15-1C9C-4BCF-CBA8-58F3F1044FE4}"/>
              </a:ext>
            </a:extLst>
          </p:cNvPr>
          <p:cNvPicPr>
            <a:picLocks noChangeAspect="1"/>
          </p:cNvPicPr>
          <p:nvPr/>
        </p:nvPicPr>
        <p:blipFill>
          <a:blip r:embed="rId3"/>
          <a:stretch>
            <a:fillRect/>
          </a:stretch>
        </p:blipFill>
        <p:spPr>
          <a:xfrm>
            <a:off x="346441" y="2641986"/>
            <a:ext cx="10883811" cy="3866335"/>
          </a:xfrm>
          <a:prstGeom prst="rect">
            <a:avLst/>
          </a:prstGeom>
        </p:spPr>
      </p:pic>
    </p:spTree>
    <p:extLst>
      <p:ext uri="{BB962C8B-B14F-4D97-AF65-F5344CB8AC3E}">
        <p14:creationId xmlns:p14="http://schemas.microsoft.com/office/powerpoint/2010/main" val="23326195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B64CF4-463B-4B90-55E5-01729CAB2488}"/>
              </a:ext>
            </a:extLst>
          </p:cNvPr>
          <p:cNvSpPr/>
          <p:nvPr/>
        </p:nvSpPr>
        <p:spPr>
          <a:xfrm>
            <a:off x="10500189" y="143838"/>
            <a:ext cx="1561672" cy="606175"/>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780EF0B3-EC25-BFF6-AFFC-8120BBC3D4E5}"/>
              </a:ext>
            </a:extLst>
          </p:cNvPr>
          <p:cNvSpPr txBox="1"/>
          <p:nvPr/>
        </p:nvSpPr>
        <p:spPr>
          <a:xfrm>
            <a:off x="418250" y="124489"/>
            <a:ext cx="10859785" cy="584775"/>
          </a:xfrm>
          <a:prstGeom prst="rect">
            <a:avLst/>
          </a:prstGeom>
          <a:noFill/>
        </p:spPr>
        <p:txBody>
          <a:bodyPr wrap="square" rtlCol="0">
            <a:spAutoFit/>
          </a:bodyPr>
          <a:lstStyle/>
          <a:p>
            <a:r>
              <a:rPr lang="en-US" sz="3200" b="1">
                <a:solidFill>
                  <a:schemeClr val="accent1">
                    <a:lumMod val="20000"/>
                    <a:lumOff val="80000"/>
                  </a:schemeClr>
                </a:solidFill>
                <a:latin typeface="Aptos" panose="020B0004020202020204" pitchFamily="34" charset="0"/>
              </a:rPr>
              <a:t>INSIGHTS TO CHANGE OF AUCTION RULES</a:t>
            </a:r>
            <a:endParaRPr lang="en-US" sz="4800" b="1">
              <a:latin typeface="Aptos" panose="020B0004020202020204" pitchFamily="34" charset="0"/>
            </a:endParaRPr>
          </a:p>
        </p:txBody>
      </p:sp>
      <p:cxnSp>
        <p:nvCxnSpPr>
          <p:cNvPr id="4" name="Straight Connector 3">
            <a:extLst>
              <a:ext uri="{FF2B5EF4-FFF2-40B4-BE49-F238E27FC236}">
                <a16:creationId xmlns:a16="http://schemas.microsoft.com/office/drawing/2014/main" id="{AE97D858-2543-2756-5716-308E6D0B03FA}"/>
              </a:ext>
            </a:extLst>
          </p:cNvPr>
          <p:cNvCxnSpPr/>
          <p:nvPr/>
        </p:nvCxnSpPr>
        <p:spPr>
          <a:xfrm>
            <a:off x="407998" y="239648"/>
            <a:ext cx="0" cy="457200"/>
          </a:xfrm>
          <a:prstGeom prst="line">
            <a:avLst/>
          </a:prstGeom>
          <a:ln w="57150">
            <a:solidFill>
              <a:srgbClr val="F1D809"/>
            </a:solidFill>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64DAE098-611A-60FA-F19E-9731CB4EE915}"/>
              </a:ext>
            </a:extLst>
          </p:cNvPr>
          <p:cNvSpPr txBox="1"/>
          <p:nvPr/>
        </p:nvSpPr>
        <p:spPr>
          <a:xfrm>
            <a:off x="560055" y="820819"/>
            <a:ext cx="10345838" cy="276999"/>
          </a:xfrm>
          <a:prstGeom prst="rect">
            <a:avLst/>
          </a:prstGeom>
          <a:noFill/>
        </p:spPr>
        <p:txBody>
          <a:bodyPr wrap="square" rtlCol="0">
            <a:spAutoFit/>
          </a:bodyPr>
          <a:lstStyle/>
          <a:p>
            <a:r>
              <a:rPr lang="en-US" sz="1200">
                <a:solidFill>
                  <a:schemeClr val="accent1">
                    <a:lumMod val="60000"/>
                    <a:lumOff val="40000"/>
                  </a:schemeClr>
                </a:solidFill>
                <a:latin typeface="Fira Code" pitchFamily="1" charset="0"/>
                <a:ea typeface="Fira Code" pitchFamily="1" charset="0"/>
                <a:cs typeface="Fira Code" pitchFamily="1" charset="0"/>
              </a:rPr>
              <a:t>Insights here are for a section of APAC-Commercial events</a:t>
            </a:r>
          </a:p>
        </p:txBody>
      </p:sp>
      <p:sp>
        <p:nvSpPr>
          <p:cNvPr id="10" name="Rectangle: Rounded Corners 9">
            <a:extLst>
              <a:ext uri="{FF2B5EF4-FFF2-40B4-BE49-F238E27FC236}">
                <a16:creationId xmlns:a16="http://schemas.microsoft.com/office/drawing/2014/main" id="{730A145C-7527-6FA2-9FDE-B50E4CD378D0}"/>
              </a:ext>
            </a:extLst>
          </p:cNvPr>
          <p:cNvSpPr/>
          <p:nvPr/>
        </p:nvSpPr>
        <p:spPr>
          <a:xfrm>
            <a:off x="7738946" y="78770"/>
            <a:ext cx="45719" cy="4571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F556183D-0B5D-671E-803A-8E1AAD5E63D6}"/>
              </a:ext>
            </a:extLst>
          </p:cNvPr>
          <p:cNvPicPr>
            <a:picLocks noChangeAspect="1"/>
          </p:cNvPicPr>
          <p:nvPr/>
        </p:nvPicPr>
        <p:blipFill>
          <a:blip r:embed="rId2"/>
          <a:stretch>
            <a:fillRect/>
          </a:stretch>
        </p:blipFill>
        <p:spPr>
          <a:xfrm>
            <a:off x="560055" y="1956542"/>
            <a:ext cx="821308" cy="821308"/>
          </a:xfrm>
          <a:prstGeom prst="rect">
            <a:avLst/>
          </a:prstGeom>
        </p:spPr>
      </p:pic>
      <p:sp>
        <p:nvSpPr>
          <p:cNvPr id="16" name="TextBox 15">
            <a:extLst>
              <a:ext uri="{FF2B5EF4-FFF2-40B4-BE49-F238E27FC236}">
                <a16:creationId xmlns:a16="http://schemas.microsoft.com/office/drawing/2014/main" id="{B33E120E-2DA5-6988-CE2E-0A9A07C0FBCA}"/>
              </a:ext>
            </a:extLst>
          </p:cNvPr>
          <p:cNvSpPr txBox="1"/>
          <p:nvPr/>
        </p:nvSpPr>
        <p:spPr>
          <a:xfrm>
            <a:off x="1633921" y="2086197"/>
            <a:ext cx="4636250" cy="584775"/>
          </a:xfrm>
          <a:prstGeom prst="rect">
            <a:avLst/>
          </a:prstGeom>
          <a:noFill/>
        </p:spPr>
        <p:txBody>
          <a:bodyPr wrap="square" rtlCol="0">
            <a:spAutoFit/>
          </a:bodyPr>
          <a:lstStyle/>
          <a:p>
            <a:r>
              <a:rPr lang="en-US" sz="1600">
                <a:solidFill>
                  <a:schemeClr val="accent2">
                    <a:lumMod val="60000"/>
                    <a:lumOff val="40000"/>
                  </a:schemeClr>
                </a:solidFill>
              </a:rPr>
              <a:t>It is preferred to not allow </a:t>
            </a:r>
            <a:r>
              <a:rPr lang="en-US" sz="1600" err="1">
                <a:solidFill>
                  <a:schemeClr val="accent2">
                    <a:lumMod val="60000"/>
                    <a:lumOff val="40000"/>
                  </a:schemeClr>
                </a:solidFill>
              </a:rPr>
              <a:t>prebids</a:t>
            </a:r>
            <a:r>
              <a:rPr lang="en-US" sz="1600">
                <a:solidFill>
                  <a:schemeClr val="accent2">
                    <a:lumMod val="60000"/>
                    <a:lumOff val="40000"/>
                  </a:schemeClr>
                </a:solidFill>
              </a:rPr>
              <a:t> during preview period</a:t>
            </a:r>
          </a:p>
        </p:txBody>
      </p:sp>
      <p:pic>
        <p:nvPicPr>
          <p:cNvPr id="18" name="Picture 17">
            <a:extLst>
              <a:ext uri="{FF2B5EF4-FFF2-40B4-BE49-F238E27FC236}">
                <a16:creationId xmlns:a16="http://schemas.microsoft.com/office/drawing/2014/main" id="{F9FFA0FE-0384-DE1B-A55B-7FD10474230A}"/>
              </a:ext>
            </a:extLst>
          </p:cNvPr>
          <p:cNvPicPr>
            <a:picLocks noChangeAspect="1"/>
          </p:cNvPicPr>
          <p:nvPr/>
        </p:nvPicPr>
        <p:blipFill>
          <a:blip r:embed="rId3"/>
          <a:stretch>
            <a:fillRect/>
          </a:stretch>
        </p:blipFill>
        <p:spPr>
          <a:xfrm>
            <a:off x="418250" y="3594501"/>
            <a:ext cx="1116374" cy="1116374"/>
          </a:xfrm>
          <a:prstGeom prst="rect">
            <a:avLst/>
          </a:prstGeom>
        </p:spPr>
      </p:pic>
      <p:sp>
        <p:nvSpPr>
          <p:cNvPr id="19" name="TextBox 18">
            <a:extLst>
              <a:ext uri="{FF2B5EF4-FFF2-40B4-BE49-F238E27FC236}">
                <a16:creationId xmlns:a16="http://schemas.microsoft.com/office/drawing/2014/main" id="{46D79C1F-648F-FD02-7341-FDABC123026D}"/>
              </a:ext>
            </a:extLst>
          </p:cNvPr>
          <p:cNvSpPr txBox="1"/>
          <p:nvPr/>
        </p:nvSpPr>
        <p:spPr>
          <a:xfrm>
            <a:off x="1633922" y="3871689"/>
            <a:ext cx="4719378" cy="584775"/>
          </a:xfrm>
          <a:prstGeom prst="rect">
            <a:avLst/>
          </a:prstGeom>
          <a:noFill/>
        </p:spPr>
        <p:txBody>
          <a:bodyPr wrap="square" rtlCol="0">
            <a:spAutoFit/>
          </a:bodyPr>
          <a:lstStyle/>
          <a:p>
            <a:r>
              <a:rPr lang="en-US" sz="1600" dirty="0">
                <a:solidFill>
                  <a:schemeClr val="accent2">
                    <a:lumMod val="60000"/>
                    <a:lumOff val="40000"/>
                  </a:schemeClr>
                </a:solidFill>
              </a:rPr>
              <a:t>Allow suppliers to see their ranks 90% of the time. Currently the data has a ~50% split</a:t>
            </a:r>
          </a:p>
        </p:txBody>
      </p:sp>
      <p:pic>
        <p:nvPicPr>
          <p:cNvPr id="21" name="Picture 20">
            <a:extLst>
              <a:ext uri="{FF2B5EF4-FFF2-40B4-BE49-F238E27FC236}">
                <a16:creationId xmlns:a16="http://schemas.microsoft.com/office/drawing/2014/main" id="{EB842962-D6CD-519F-945D-B8AD190A010A}"/>
              </a:ext>
            </a:extLst>
          </p:cNvPr>
          <p:cNvPicPr>
            <a:picLocks noChangeAspect="1"/>
          </p:cNvPicPr>
          <p:nvPr/>
        </p:nvPicPr>
        <p:blipFill>
          <a:blip r:embed="rId4"/>
          <a:stretch>
            <a:fillRect/>
          </a:stretch>
        </p:blipFill>
        <p:spPr>
          <a:xfrm>
            <a:off x="6604302" y="1956542"/>
            <a:ext cx="821309" cy="821309"/>
          </a:xfrm>
          <a:prstGeom prst="rect">
            <a:avLst/>
          </a:prstGeom>
        </p:spPr>
      </p:pic>
      <p:sp>
        <p:nvSpPr>
          <p:cNvPr id="22" name="TextBox 21">
            <a:extLst>
              <a:ext uri="{FF2B5EF4-FFF2-40B4-BE49-F238E27FC236}">
                <a16:creationId xmlns:a16="http://schemas.microsoft.com/office/drawing/2014/main" id="{A9151D7B-83C7-1222-7373-13A390278D29}"/>
              </a:ext>
            </a:extLst>
          </p:cNvPr>
          <p:cNvSpPr txBox="1"/>
          <p:nvPr/>
        </p:nvSpPr>
        <p:spPr>
          <a:xfrm>
            <a:off x="7425611" y="2034176"/>
            <a:ext cx="4636250" cy="584775"/>
          </a:xfrm>
          <a:prstGeom prst="rect">
            <a:avLst/>
          </a:prstGeom>
          <a:noFill/>
        </p:spPr>
        <p:txBody>
          <a:bodyPr wrap="square" rtlCol="0">
            <a:spAutoFit/>
          </a:bodyPr>
          <a:lstStyle/>
          <a:p>
            <a:r>
              <a:rPr lang="en-US" sz="1600">
                <a:solidFill>
                  <a:schemeClr val="accent2">
                    <a:lumMod val="60000"/>
                    <a:lumOff val="40000"/>
                  </a:schemeClr>
                </a:solidFill>
              </a:rPr>
              <a:t>Bidding period in current auctions at 30 mins is almost optimal</a:t>
            </a:r>
          </a:p>
        </p:txBody>
      </p:sp>
      <p:pic>
        <p:nvPicPr>
          <p:cNvPr id="24" name="Picture 23">
            <a:extLst>
              <a:ext uri="{FF2B5EF4-FFF2-40B4-BE49-F238E27FC236}">
                <a16:creationId xmlns:a16="http://schemas.microsoft.com/office/drawing/2014/main" id="{C6318B9C-40D4-1E70-F8F8-026132B788BD}"/>
              </a:ext>
            </a:extLst>
          </p:cNvPr>
          <p:cNvPicPr>
            <a:picLocks noChangeAspect="1"/>
          </p:cNvPicPr>
          <p:nvPr/>
        </p:nvPicPr>
        <p:blipFill>
          <a:blip r:embed="rId5"/>
          <a:stretch>
            <a:fillRect/>
          </a:stretch>
        </p:blipFill>
        <p:spPr>
          <a:xfrm>
            <a:off x="6735036" y="3635156"/>
            <a:ext cx="821309" cy="821309"/>
          </a:xfrm>
          <a:prstGeom prst="rect">
            <a:avLst/>
          </a:prstGeom>
        </p:spPr>
      </p:pic>
      <p:sp>
        <p:nvSpPr>
          <p:cNvPr id="25" name="TextBox 24">
            <a:extLst>
              <a:ext uri="{FF2B5EF4-FFF2-40B4-BE49-F238E27FC236}">
                <a16:creationId xmlns:a16="http://schemas.microsoft.com/office/drawing/2014/main" id="{A9DD9055-3C70-74E9-259A-08E4AF1959D0}"/>
              </a:ext>
            </a:extLst>
          </p:cNvPr>
          <p:cNvSpPr txBox="1"/>
          <p:nvPr/>
        </p:nvSpPr>
        <p:spPr>
          <a:xfrm>
            <a:off x="7556345" y="3753422"/>
            <a:ext cx="4505516" cy="584775"/>
          </a:xfrm>
          <a:prstGeom prst="rect">
            <a:avLst/>
          </a:prstGeom>
          <a:noFill/>
        </p:spPr>
        <p:txBody>
          <a:bodyPr wrap="square" rtlCol="0">
            <a:spAutoFit/>
          </a:bodyPr>
          <a:lstStyle/>
          <a:p>
            <a:r>
              <a:rPr lang="en-US" sz="1600">
                <a:solidFill>
                  <a:schemeClr val="accent2">
                    <a:lumMod val="60000"/>
                    <a:lumOff val="40000"/>
                  </a:schemeClr>
                </a:solidFill>
              </a:rPr>
              <a:t>Review time period is optimum at 3 minutes instead of 2 minutes used currently</a:t>
            </a:r>
          </a:p>
        </p:txBody>
      </p:sp>
      <mc:AlternateContent xmlns:mc="http://schemas.openxmlformats.org/markup-compatibility/2006" xmlns:pslz="http://schemas.microsoft.com/office/powerpoint/2016/slidezoom">
        <mc:Choice Requires="pslz">
          <p:graphicFrame>
            <p:nvGraphicFramePr>
              <p:cNvPr id="23" name="Slide Zoom 22">
                <a:extLst>
                  <a:ext uri="{FF2B5EF4-FFF2-40B4-BE49-F238E27FC236}">
                    <a16:creationId xmlns:a16="http://schemas.microsoft.com/office/drawing/2014/main" id="{2AAF22C6-67B3-0F07-A8D2-66FAE6A9F43B}"/>
                  </a:ext>
                </a:extLst>
              </p:cNvPr>
              <p:cNvGraphicFramePr>
                <a:graphicFrameLocks noChangeAspect="1"/>
              </p:cNvGraphicFramePr>
              <p:nvPr>
                <p:extLst>
                  <p:ext uri="{D42A27DB-BD31-4B8C-83A1-F6EECF244321}">
                    <p14:modId xmlns:p14="http://schemas.microsoft.com/office/powerpoint/2010/main" val="801541051"/>
                  </p:ext>
                </p:extLst>
              </p:nvPr>
            </p:nvGraphicFramePr>
            <p:xfrm>
              <a:off x="4208974" y="5019011"/>
              <a:ext cx="3048000" cy="1714500"/>
            </p:xfrm>
            <a:graphic>
              <a:graphicData uri="http://schemas.microsoft.com/office/powerpoint/2016/slidezoom">
                <pslz:sldZm>
                  <pslz:sldZmObj sldId="2147483471" cId="2332619501">
                    <pslz:zmPr id="{8875007B-0BB7-4856-BFA6-04C64B72A9AE}" returnToParent="0"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23" name="Slide Zoom 22">
                <a:extLst>
                  <a:ext uri="{FF2B5EF4-FFF2-40B4-BE49-F238E27FC236}">
                    <a16:creationId xmlns:a16="http://schemas.microsoft.com/office/drawing/2014/main" id="{2AAF22C6-67B3-0F07-A8D2-66FAE6A9F43B}"/>
                  </a:ext>
                </a:extLst>
              </p:cNvPr>
              <p:cNvPicPr>
                <a:picLocks noGrp="1" noRot="1" noChangeAspect="1" noMove="1" noResize="1" noEditPoints="1" noAdjustHandles="1" noChangeArrowheads="1" noChangeShapeType="1"/>
              </p:cNvPicPr>
              <p:nvPr/>
            </p:nvPicPr>
            <p:blipFill>
              <a:blip r:embed="rId7"/>
              <a:stretch>
                <a:fillRect/>
              </a:stretch>
            </p:blipFill>
            <p:spPr>
              <a:xfrm>
                <a:off x="4208974" y="5019011"/>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11544684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B64CF4-463B-4B90-55E5-01729CAB2488}"/>
              </a:ext>
            </a:extLst>
          </p:cNvPr>
          <p:cNvSpPr/>
          <p:nvPr/>
        </p:nvSpPr>
        <p:spPr>
          <a:xfrm>
            <a:off x="10500189" y="143838"/>
            <a:ext cx="1561672" cy="606175"/>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780EF0B3-EC25-BFF6-AFFC-8120BBC3D4E5}"/>
              </a:ext>
            </a:extLst>
          </p:cNvPr>
          <p:cNvSpPr txBox="1"/>
          <p:nvPr/>
        </p:nvSpPr>
        <p:spPr>
          <a:xfrm>
            <a:off x="421240" y="178788"/>
            <a:ext cx="10859785" cy="584775"/>
          </a:xfrm>
          <a:prstGeom prst="rect">
            <a:avLst/>
          </a:prstGeom>
          <a:noFill/>
        </p:spPr>
        <p:txBody>
          <a:bodyPr wrap="square" rtlCol="0">
            <a:spAutoFit/>
          </a:bodyPr>
          <a:lstStyle/>
          <a:p>
            <a:r>
              <a:rPr lang="en-US" sz="3200" b="1">
                <a:solidFill>
                  <a:schemeClr val="accent1">
                    <a:lumMod val="20000"/>
                    <a:lumOff val="80000"/>
                  </a:schemeClr>
                </a:solidFill>
                <a:latin typeface="Aptos" panose="020B0004020202020204" pitchFamily="34" charset="0"/>
              </a:rPr>
              <a:t>SO WHAT?</a:t>
            </a:r>
            <a:endParaRPr lang="en-US" sz="4800" b="1">
              <a:latin typeface="Aptos" panose="020B0004020202020204" pitchFamily="34" charset="0"/>
            </a:endParaRPr>
          </a:p>
        </p:txBody>
      </p:sp>
      <p:cxnSp>
        <p:nvCxnSpPr>
          <p:cNvPr id="4" name="Straight Connector 3">
            <a:extLst>
              <a:ext uri="{FF2B5EF4-FFF2-40B4-BE49-F238E27FC236}">
                <a16:creationId xmlns:a16="http://schemas.microsoft.com/office/drawing/2014/main" id="{AE97D858-2543-2756-5716-308E6D0B03FA}"/>
              </a:ext>
            </a:extLst>
          </p:cNvPr>
          <p:cNvCxnSpPr/>
          <p:nvPr/>
        </p:nvCxnSpPr>
        <p:spPr>
          <a:xfrm>
            <a:off x="407998" y="239648"/>
            <a:ext cx="0" cy="457200"/>
          </a:xfrm>
          <a:prstGeom prst="line">
            <a:avLst/>
          </a:prstGeom>
          <a:ln w="57150">
            <a:solidFill>
              <a:srgbClr val="F1D809"/>
            </a:solidFill>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86EC79EC-770E-A6A3-F80C-91205EEC8015}"/>
              </a:ext>
            </a:extLst>
          </p:cNvPr>
          <p:cNvSpPr txBox="1"/>
          <p:nvPr/>
        </p:nvSpPr>
        <p:spPr>
          <a:xfrm>
            <a:off x="407998" y="3461154"/>
            <a:ext cx="10729666" cy="307777"/>
          </a:xfrm>
          <a:prstGeom prst="rect">
            <a:avLst/>
          </a:prstGeom>
          <a:noFill/>
        </p:spPr>
        <p:txBody>
          <a:bodyPr wrap="square" rtlCol="0">
            <a:spAutoFit/>
          </a:bodyPr>
          <a:lstStyle/>
          <a:p>
            <a:r>
              <a:rPr lang="en-US" sz="1400" b="1">
                <a:solidFill>
                  <a:srgbClr val="F1D809"/>
                </a:solidFill>
              </a:rPr>
              <a:t>Distribution of uplift, forms a normal distribution curve where most uplift numbers fall between 1 to 12%</a:t>
            </a:r>
            <a:endParaRPr lang="en-US" sz="1400">
              <a:solidFill>
                <a:srgbClr val="F1D809"/>
              </a:solidFill>
            </a:endParaRPr>
          </a:p>
        </p:txBody>
      </p:sp>
      <p:graphicFrame>
        <p:nvGraphicFramePr>
          <p:cNvPr id="11" name="Table 10">
            <a:extLst>
              <a:ext uri="{FF2B5EF4-FFF2-40B4-BE49-F238E27FC236}">
                <a16:creationId xmlns:a16="http://schemas.microsoft.com/office/drawing/2014/main" id="{47A30210-A203-D155-567F-929EE8572C95}"/>
              </a:ext>
            </a:extLst>
          </p:cNvPr>
          <p:cNvGraphicFramePr>
            <a:graphicFrameLocks noGrp="1"/>
          </p:cNvGraphicFramePr>
          <p:nvPr>
            <p:extLst>
              <p:ext uri="{D42A27DB-BD31-4B8C-83A1-F6EECF244321}">
                <p14:modId xmlns:p14="http://schemas.microsoft.com/office/powerpoint/2010/main" val="2786829499"/>
              </p:ext>
            </p:extLst>
          </p:nvPr>
        </p:nvGraphicFramePr>
        <p:xfrm>
          <a:off x="352300" y="3899796"/>
          <a:ext cx="10785363" cy="637544"/>
        </p:xfrm>
        <a:graphic>
          <a:graphicData uri="http://schemas.openxmlformats.org/drawingml/2006/table">
            <a:tbl>
              <a:tblPr/>
              <a:tblGrid>
                <a:gridCol w="1006108">
                  <a:extLst>
                    <a:ext uri="{9D8B030D-6E8A-4147-A177-3AD203B41FA5}">
                      <a16:colId xmlns:a16="http://schemas.microsoft.com/office/drawing/2014/main" val="794430106"/>
                    </a:ext>
                  </a:extLst>
                </a:gridCol>
                <a:gridCol w="1566936">
                  <a:extLst>
                    <a:ext uri="{9D8B030D-6E8A-4147-A177-3AD203B41FA5}">
                      <a16:colId xmlns:a16="http://schemas.microsoft.com/office/drawing/2014/main" val="1989280470"/>
                    </a:ext>
                  </a:extLst>
                </a:gridCol>
                <a:gridCol w="1817758">
                  <a:extLst>
                    <a:ext uri="{9D8B030D-6E8A-4147-A177-3AD203B41FA5}">
                      <a16:colId xmlns:a16="http://schemas.microsoft.com/office/drawing/2014/main" val="605470074"/>
                    </a:ext>
                  </a:extLst>
                </a:gridCol>
                <a:gridCol w="958198">
                  <a:extLst>
                    <a:ext uri="{9D8B030D-6E8A-4147-A177-3AD203B41FA5}">
                      <a16:colId xmlns:a16="http://schemas.microsoft.com/office/drawing/2014/main" val="3205409731"/>
                    </a:ext>
                  </a:extLst>
                </a:gridCol>
                <a:gridCol w="1175201">
                  <a:extLst>
                    <a:ext uri="{9D8B030D-6E8A-4147-A177-3AD203B41FA5}">
                      <a16:colId xmlns:a16="http://schemas.microsoft.com/office/drawing/2014/main" val="4172748451"/>
                    </a:ext>
                  </a:extLst>
                </a:gridCol>
                <a:gridCol w="1288178">
                  <a:extLst>
                    <a:ext uri="{9D8B030D-6E8A-4147-A177-3AD203B41FA5}">
                      <a16:colId xmlns:a16="http://schemas.microsoft.com/office/drawing/2014/main" val="535703788"/>
                    </a:ext>
                  </a:extLst>
                </a:gridCol>
                <a:gridCol w="1484959">
                  <a:extLst>
                    <a:ext uri="{9D8B030D-6E8A-4147-A177-3AD203B41FA5}">
                      <a16:colId xmlns:a16="http://schemas.microsoft.com/office/drawing/2014/main" val="3747237378"/>
                    </a:ext>
                  </a:extLst>
                </a:gridCol>
                <a:gridCol w="1488025">
                  <a:extLst>
                    <a:ext uri="{9D8B030D-6E8A-4147-A177-3AD203B41FA5}">
                      <a16:colId xmlns:a16="http://schemas.microsoft.com/office/drawing/2014/main" val="698489934"/>
                    </a:ext>
                  </a:extLst>
                </a:gridCol>
              </a:tblGrid>
              <a:tr h="170633">
                <a:tc>
                  <a:txBody>
                    <a:bodyPr/>
                    <a:lstStyle/>
                    <a:p>
                      <a:pPr algn="ctr" fontAlgn="b"/>
                      <a:r>
                        <a:rPr lang="en-US" sz="1100" b="1" i="0" u="none" strike="noStrike">
                          <a:solidFill>
                            <a:srgbClr val="000000"/>
                          </a:solidFill>
                          <a:effectLst/>
                          <a:latin typeface="Calibri" panose="020F0502020204030204" pitchFamily="34" charset="0"/>
                        </a:rPr>
                        <a:t>Event Count</a:t>
                      </a:r>
                    </a:p>
                  </a:txBody>
                  <a:tcPr marL="8125" marR="8125" marT="81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100" b="1" i="0" u="none" strike="noStrike">
                          <a:solidFill>
                            <a:srgbClr val="000000"/>
                          </a:solidFill>
                          <a:effectLst/>
                          <a:latin typeface="Calibri" panose="020F0502020204030204" pitchFamily="34" charset="0"/>
                        </a:rPr>
                        <a:t> Initial efficiency </a:t>
                      </a:r>
                    </a:p>
                  </a:txBody>
                  <a:tcPr marL="8125" marR="8125" marT="81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100" b="1" i="0" u="none" strike="noStrike">
                          <a:solidFill>
                            <a:srgbClr val="000000"/>
                          </a:solidFill>
                          <a:effectLst/>
                          <a:latin typeface="Calibri" panose="020F0502020204030204" pitchFamily="34" charset="0"/>
                        </a:rPr>
                        <a:t> Optimized_efficiency </a:t>
                      </a:r>
                    </a:p>
                  </a:txBody>
                  <a:tcPr marL="8125" marR="8125" marT="81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100" b="1" i="0" u="none" strike="noStrike">
                          <a:solidFill>
                            <a:srgbClr val="000000"/>
                          </a:solidFill>
                          <a:effectLst/>
                          <a:latin typeface="Calibri" panose="020F0502020204030204" pitchFamily="34" charset="0"/>
                        </a:rPr>
                        <a:t> Average of Uplift </a:t>
                      </a:r>
                    </a:p>
                  </a:txBody>
                  <a:tcPr marL="8125" marR="8125" marT="81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100" b="1" i="0" u="none" strike="noStrike">
                          <a:solidFill>
                            <a:srgbClr val="000000"/>
                          </a:solidFill>
                          <a:effectLst/>
                          <a:latin typeface="Calibri" panose="020F0502020204030204" pitchFamily="34" charset="0"/>
                        </a:rPr>
                        <a:t> Opportunity</a:t>
                      </a:r>
                    </a:p>
                  </a:txBody>
                  <a:tcPr marL="8125" marR="8125" marT="81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100" b="1" i="0" u="none" strike="noStrike">
                          <a:solidFill>
                            <a:srgbClr val="000000"/>
                          </a:solidFill>
                          <a:effectLst/>
                          <a:latin typeface="Calibri" panose="020F0502020204030204" pitchFamily="34" charset="0"/>
                        </a:rPr>
                        <a:t>Initial Final Spend</a:t>
                      </a:r>
                    </a:p>
                  </a:txBody>
                  <a:tcPr marL="8125" marR="8125" marT="81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100" b="1" i="0" u="none" strike="noStrike">
                          <a:solidFill>
                            <a:srgbClr val="000000"/>
                          </a:solidFill>
                          <a:effectLst/>
                          <a:latin typeface="Calibri" panose="020F0502020204030204" pitchFamily="34" charset="0"/>
                        </a:rPr>
                        <a:t>Optimized Final spend </a:t>
                      </a:r>
                    </a:p>
                  </a:txBody>
                  <a:tcPr marL="8125" marR="8125" marT="81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100" b="1" i="0" u="none" strike="noStrike">
                          <a:solidFill>
                            <a:srgbClr val="000000"/>
                          </a:solidFill>
                          <a:effectLst/>
                          <a:latin typeface="Calibri" panose="020F0502020204030204" pitchFamily="34" charset="0"/>
                        </a:rPr>
                        <a:t> Baseline Spend </a:t>
                      </a:r>
                    </a:p>
                  </a:txBody>
                  <a:tcPr marL="8125" marR="8125" marT="81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535015372"/>
                  </a:ext>
                </a:extLst>
              </a:tr>
              <a:tr h="294139">
                <a:tc>
                  <a:txBody>
                    <a:bodyPr/>
                    <a:lstStyle/>
                    <a:p>
                      <a:pPr algn="ctr" fontAlgn="b"/>
                      <a:r>
                        <a:rPr lang="en-US" sz="1050" b="1" i="0" u="none" strike="noStrike">
                          <a:solidFill>
                            <a:srgbClr val="000000"/>
                          </a:solidFill>
                          <a:effectLst/>
                          <a:latin typeface="Calibri" panose="020F0502020204030204" pitchFamily="34" charset="0"/>
                        </a:rPr>
                        <a:t>2502</a:t>
                      </a:r>
                    </a:p>
                  </a:txBody>
                  <a:tcPr marL="8125" marR="8125" marT="81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1050" b="1" i="0" u="none" strike="noStrike">
                          <a:solidFill>
                            <a:srgbClr val="000000"/>
                          </a:solidFill>
                          <a:effectLst/>
                          <a:latin typeface="Calibri" panose="020F0502020204030204" pitchFamily="34" charset="0"/>
                        </a:rPr>
                        <a:t>18.1%</a:t>
                      </a:r>
                    </a:p>
                  </a:txBody>
                  <a:tcPr marL="8125" marR="8125" marT="81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1050" b="1" i="0" u="none" strike="noStrike">
                          <a:solidFill>
                            <a:srgbClr val="000000"/>
                          </a:solidFill>
                          <a:effectLst/>
                          <a:latin typeface="Calibri" panose="020F0502020204030204" pitchFamily="34" charset="0"/>
                        </a:rPr>
                        <a:t>23.3%</a:t>
                      </a:r>
                    </a:p>
                  </a:txBody>
                  <a:tcPr marL="8125" marR="8125" marT="81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1050" b="1" i="0" u="none" strike="noStrike">
                          <a:solidFill>
                            <a:srgbClr val="007E39"/>
                          </a:solidFill>
                          <a:effectLst/>
                          <a:latin typeface="Calibri" panose="020F0502020204030204" pitchFamily="34" charset="0"/>
                        </a:rPr>
                        <a:t>5.2%</a:t>
                      </a:r>
                    </a:p>
                  </a:txBody>
                  <a:tcPr marL="8125" marR="8125" marT="81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1050" b="1" i="0" u="none" strike="noStrike">
                          <a:solidFill>
                            <a:srgbClr val="00B050"/>
                          </a:solidFill>
                          <a:effectLst/>
                          <a:latin typeface="Calibri" panose="020F0502020204030204" pitchFamily="34" charset="0"/>
                        </a:rPr>
                        <a:t>77 M</a:t>
                      </a:r>
                    </a:p>
                  </a:txBody>
                  <a:tcPr marL="8125" marR="8125" marT="81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1050" b="1" i="0" u="none" strike="noStrike">
                          <a:solidFill>
                            <a:srgbClr val="000000"/>
                          </a:solidFill>
                          <a:effectLst/>
                          <a:latin typeface="Calibri" panose="020F0502020204030204" pitchFamily="34" charset="0"/>
                        </a:rPr>
                        <a:t>1.22Bn</a:t>
                      </a:r>
                    </a:p>
                  </a:txBody>
                  <a:tcPr marL="8125" marR="8125" marT="81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1050" b="1" i="0" u="none" strike="noStrike">
                          <a:solidFill>
                            <a:srgbClr val="000000"/>
                          </a:solidFill>
                          <a:effectLst/>
                          <a:latin typeface="Calibri" panose="020F0502020204030204" pitchFamily="34" charset="0"/>
                        </a:rPr>
                        <a:t>1.15Bn</a:t>
                      </a:r>
                    </a:p>
                  </a:txBody>
                  <a:tcPr marL="8125" marR="8125" marT="81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1050" b="1" i="0" u="none" strike="noStrike">
                          <a:solidFill>
                            <a:srgbClr val="000000"/>
                          </a:solidFill>
                          <a:effectLst/>
                          <a:latin typeface="Calibri" panose="020F0502020204030204" pitchFamily="34" charset="0"/>
                        </a:rPr>
                        <a:t>1.5Bn</a:t>
                      </a:r>
                    </a:p>
                  </a:txBody>
                  <a:tcPr marL="8125" marR="8125" marT="81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4014997642"/>
                  </a:ext>
                </a:extLst>
              </a:tr>
            </a:tbl>
          </a:graphicData>
        </a:graphic>
      </p:graphicFrame>
      <p:sp>
        <p:nvSpPr>
          <p:cNvPr id="10" name="TextBox 9">
            <a:extLst>
              <a:ext uri="{FF2B5EF4-FFF2-40B4-BE49-F238E27FC236}">
                <a16:creationId xmlns:a16="http://schemas.microsoft.com/office/drawing/2014/main" id="{7800C963-518A-7F02-F8D7-A46C8B1EB5F7}"/>
              </a:ext>
            </a:extLst>
          </p:cNvPr>
          <p:cNvSpPr txBox="1"/>
          <p:nvPr/>
        </p:nvSpPr>
        <p:spPr>
          <a:xfrm>
            <a:off x="352301" y="994159"/>
            <a:ext cx="10928724" cy="707886"/>
          </a:xfrm>
          <a:prstGeom prst="rect">
            <a:avLst/>
          </a:prstGeom>
          <a:noFill/>
        </p:spPr>
        <p:txBody>
          <a:bodyPr wrap="square" rtlCol="0">
            <a:spAutoFit/>
          </a:bodyPr>
          <a:lstStyle/>
          <a:p>
            <a:pPr algn="ctr"/>
            <a:r>
              <a:rPr lang="en-US" sz="2000" b="1" dirty="0">
                <a:solidFill>
                  <a:srgbClr val="F1D809"/>
                </a:solidFill>
              </a:rPr>
              <a:t>Providing the optimal auction rules for 2502 events across  X- Region would enable to find an opportunity of $77Mn</a:t>
            </a:r>
          </a:p>
        </p:txBody>
      </p:sp>
      <p:grpSp>
        <p:nvGrpSpPr>
          <p:cNvPr id="18" name="Group 17">
            <a:extLst>
              <a:ext uri="{FF2B5EF4-FFF2-40B4-BE49-F238E27FC236}">
                <a16:creationId xmlns:a16="http://schemas.microsoft.com/office/drawing/2014/main" id="{C2EA8B6B-52DF-16DF-0E89-B100EB1AE0E8}"/>
              </a:ext>
            </a:extLst>
          </p:cNvPr>
          <p:cNvGrpSpPr/>
          <p:nvPr/>
        </p:nvGrpSpPr>
        <p:grpSpPr>
          <a:xfrm>
            <a:off x="732311" y="1770698"/>
            <a:ext cx="2602735" cy="1200329"/>
            <a:chOff x="3914078" y="1375146"/>
            <a:chExt cx="2792305" cy="1200329"/>
          </a:xfrm>
        </p:grpSpPr>
        <p:pic>
          <p:nvPicPr>
            <p:cNvPr id="19" name="Picture 18">
              <a:extLst>
                <a:ext uri="{FF2B5EF4-FFF2-40B4-BE49-F238E27FC236}">
                  <a16:creationId xmlns:a16="http://schemas.microsoft.com/office/drawing/2014/main" id="{0AE0351E-8398-03C9-C53D-8C16FC3BD524}"/>
                </a:ext>
              </a:extLst>
            </p:cNvPr>
            <p:cNvPicPr>
              <a:picLocks noChangeAspect="1"/>
            </p:cNvPicPr>
            <p:nvPr/>
          </p:nvPicPr>
          <p:blipFill>
            <a:blip r:embed="rId3"/>
            <a:stretch>
              <a:fillRect/>
            </a:stretch>
          </p:blipFill>
          <p:spPr>
            <a:xfrm>
              <a:off x="5732974" y="1375146"/>
              <a:ext cx="973409" cy="973409"/>
            </a:xfrm>
            <a:prstGeom prst="rect">
              <a:avLst/>
            </a:prstGeom>
          </p:spPr>
        </p:pic>
        <p:sp>
          <p:nvSpPr>
            <p:cNvPr id="20" name="TextBox 19">
              <a:extLst>
                <a:ext uri="{FF2B5EF4-FFF2-40B4-BE49-F238E27FC236}">
                  <a16:creationId xmlns:a16="http://schemas.microsoft.com/office/drawing/2014/main" id="{B7D4AC1B-7EC2-C0D1-0C19-D38FA3E0B10B}"/>
                </a:ext>
              </a:extLst>
            </p:cNvPr>
            <p:cNvSpPr txBox="1"/>
            <p:nvPr/>
          </p:nvSpPr>
          <p:spPr>
            <a:xfrm>
              <a:off x="3914078" y="1375146"/>
              <a:ext cx="2230796" cy="1200329"/>
            </a:xfrm>
            <a:prstGeom prst="rect">
              <a:avLst/>
            </a:prstGeom>
            <a:noFill/>
          </p:spPr>
          <p:txBody>
            <a:bodyPr wrap="square" rtlCol="0">
              <a:spAutoFit/>
            </a:bodyPr>
            <a:lstStyle/>
            <a:p>
              <a:r>
                <a:rPr lang="en-US" sz="7200" b="1" dirty="0">
                  <a:solidFill>
                    <a:schemeClr val="accent1">
                      <a:lumMod val="75000"/>
                    </a:schemeClr>
                  </a:solidFill>
                </a:rPr>
                <a:t>5.2</a:t>
              </a:r>
              <a:r>
                <a:rPr lang="en-US" sz="3600" b="1" dirty="0">
                  <a:solidFill>
                    <a:schemeClr val="accent1">
                      <a:lumMod val="75000"/>
                    </a:schemeClr>
                  </a:solidFill>
                </a:rPr>
                <a:t>%</a:t>
              </a:r>
              <a:endParaRPr lang="en-US" sz="7200" b="1" dirty="0">
                <a:solidFill>
                  <a:schemeClr val="accent1">
                    <a:lumMod val="75000"/>
                  </a:schemeClr>
                </a:solidFill>
              </a:endParaRPr>
            </a:p>
          </p:txBody>
        </p:sp>
      </p:grpSp>
      <p:sp>
        <p:nvSpPr>
          <p:cNvPr id="21" name="TextBox 20">
            <a:extLst>
              <a:ext uri="{FF2B5EF4-FFF2-40B4-BE49-F238E27FC236}">
                <a16:creationId xmlns:a16="http://schemas.microsoft.com/office/drawing/2014/main" id="{5FF8CB0D-2D74-BE5D-F2E1-5C44BD13F084}"/>
              </a:ext>
            </a:extLst>
          </p:cNvPr>
          <p:cNvSpPr txBox="1"/>
          <p:nvPr/>
        </p:nvSpPr>
        <p:spPr>
          <a:xfrm>
            <a:off x="770264" y="2814913"/>
            <a:ext cx="2653990" cy="338554"/>
          </a:xfrm>
          <a:prstGeom prst="rect">
            <a:avLst/>
          </a:prstGeom>
          <a:noFill/>
        </p:spPr>
        <p:txBody>
          <a:bodyPr wrap="square" rtlCol="0">
            <a:spAutoFit/>
          </a:bodyPr>
          <a:lstStyle/>
          <a:p>
            <a:pPr algn="ctr"/>
            <a:r>
              <a:rPr lang="en-US" sz="1600" b="1" i="1">
                <a:solidFill>
                  <a:schemeClr val="accent1">
                    <a:lumMod val="75000"/>
                  </a:schemeClr>
                </a:solidFill>
              </a:rPr>
              <a:t>Improvement to Uplift</a:t>
            </a:r>
          </a:p>
        </p:txBody>
      </p:sp>
      <p:sp>
        <p:nvSpPr>
          <p:cNvPr id="24" name="TextBox 23">
            <a:extLst>
              <a:ext uri="{FF2B5EF4-FFF2-40B4-BE49-F238E27FC236}">
                <a16:creationId xmlns:a16="http://schemas.microsoft.com/office/drawing/2014/main" id="{CC5F45D4-12D2-31E4-BD6E-C15F1F74ACDB}"/>
              </a:ext>
            </a:extLst>
          </p:cNvPr>
          <p:cNvSpPr txBox="1"/>
          <p:nvPr/>
        </p:nvSpPr>
        <p:spPr>
          <a:xfrm>
            <a:off x="4263438" y="1957645"/>
            <a:ext cx="3034531" cy="923330"/>
          </a:xfrm>
          <a:prstGeom prst="rect">
            <a:avLst/>
          </a:prstGeom>
          <a:noFill/>
        </p:spPr>
        <p:txBody>
          <a:bodyPr wrap="square" rtlCol="0">
            <a:spAutoFit/>
          </a:bodyPr>
          <a:lstStyle/>
          <a:p>
            <a:r>
              <a:rPr lang="en-US" sz="5400" b="1">
                <a:solidFill>
                  <a:schemeClr val="accent1">
                    <a:lumMod val="75000"/>
                  </a:schemeClr>
                </a:solidFill>
              </a:rPr>
              <a:t>$77M</a:t>
            </a:r>
            <a:endParaRPr lang="en-US" sz="13800" b="1">
              <a:solidFill>
                <a:schemeClr val="accent1">
                  <a:lumMod val="75000"/>
                </a:schemeClr>
              </a:solidFill>
            </a:endParaRPr>
          </a:p>
        </p:txBody>
      </p:sp>
      <p:sp>
        <p:nvSpPr>
          <p:cNvPr id="25" name="TextBox 24">
            <a:extLst>
              <a:ext uri="{FF2B5EF4-FFF2-40B4-BE49-F238E27FC236}">
                <a16:creationId xmlns:a16="http://schemas.microsoft.com/office/drawing/2014/main" id="{7BE17E74-A661-5529-CEE4-BBF4848C2314}"/>
              </a:ext>
            </a:extLst>
          </p:cNvPr>
          <p:cNvSpPr txBox="1"/>
          <p:nvPr/>
        </p:nvSpPr>
        <p:spPr>
          <a:xfrm>
            <a:off x="4579775" y="2775812"/>
            <a:ext cx="2653990" cy="338554"/>
          </a:xfrm>
          <a:prstGeom prst="rect">
            <a:avLst/>
          </a:prstGeom>
          <a:noFill/>
        </p:spPr>
        <p:txBody>
          <a:bodyPr wrap="square" rtlCol="0">
            <a:spAutoFit/>
          </a:bodyPr>
          <a:lstStyle/>
          <a:p>
            <a:pPr algn="ctr"/>
            <a:r>
              <a:rPr lang="en-US" sz="1600" b="1" i="1">
                <a:solidFill>
                  <a:schemeClr val="accent1">
                    <a:lumMod val="75000"/>
                  </a:schemeClr>
                </a:solidFill>
              </a:rPr>
              <a:t>Optimized Savings</a:t>
            </a:r>
          </a:p>
        </p:txBody>
      </p:sp>
      <p:pic>
        <p:nvPicPr>
          <p:cNvPr id="27" name="Picture 26">
            <a:extLst>
              <a:ext uri="{FF2B5EF4-FFF2-40B4-BE49-F238E27FC236}">
                <a16:creationId xmlns:a16="http://schemas.microsoft.com/office/drawing/2014/main" id="{2A0EBBC5-082E-6A25-FD56-272DC00148A2}"/>
              </a:ext>
            </a:extLst>
          </p:cNvPr>
          <p:cNvPicPr>
            <a:picLocks noChangeAspect="1"/>
          </p:cNvPicPr>
          <p:nvPr/>
        </p:nvPicPr>
        <p:blipFill>
          <a:blip r:embed="rId4"/>
          <a:stretch>
            <a:fillRect/>
          </a:stretch>
        </p:blipFill>
        <p:spPr>
          <a:xfrm>
            <a:off x="6286436" y="1911482"/>
            <a:ext cx="907324" cy="923330"/>
          </a:xfrm>
          <a:prstGeom prst="rect">
            <a:avLst/>
          </a:prstGeom>
        </p:spPr>
      </p:pic>
      <p:sp>
        <p:nvSpPr>
          <p:cNvPr id="30" name="TextBox 29">
            <a:extLst>
              <a:ext uri="{FF2B5EF4-FFF2-40B4-BE49-F238E27FC236}">
                <a16:creationId xmlns:a16="http://schemas.microsoft.com/office/drawing/2014/main" id="{6C421B14-C5A5-BAED-2957-5C942C4AB748}"/>
              </a:ext>
            </a:extLst>
          </p:cNvPr>
          <p:cNvSpPr txBox="1"/>
          <p:nvPr/>
        </p:nvSpPr>
        <p:spPr>
          <a:xfrm>
            <a:off x="7395105" y="1832910"/>
            <a:ext cx="2510451" cy="1200329"/>
          </a:xfrm>
          <a:prstGeom prst="rect">
            <a:avLst/>
          </a:prstGeom>
          <a:noFill/>
        </p:spPr>
        <p:txBody>
          <a:bodyPr wrap="square" rtlCol="0">
            <a:spAutoFit/>
          </a:bodyPr>
          <a:lstStyle/>
          <a:p>
            <a:r>
              <a:rPr lang="en-US" sz="7200" b="1" dirty="0">
                <a:solidFill>
                  <a:schemeClr val="accent1">
                    <a:lumMod val="75000"/>
                  </a:schemeClr>
                </a:solidFill>
              </a:rPr>
              <a:t>8-10</a:t>
            </a:r>
            <a:r>
              <a:rPr lang="en-US" sz="3600" b="1" dirty="0">
                <a:solidFill>
                  <a:schemeClr val="accent1">
                    <a:lumMod val="75000"/>
                  </a:schemeClr>
                </a:solidFill>
              </a:rPr>
              <a:t>%</a:t>
            </a:r>
            <a:endParaRPr lang="en-US" sz="7200" b="1" dirty="0">
              <a:solidFill>
                <a:schemeClr val="accent1">
                  <a:lumMod val="75000"/>
                </a:schemeClr>
              </a:solidFill>
            </a:endParaRPr>
          </a:p>
        </p:txBody>
      </p:sp>
      <p:sp>
        <p:nvSpPr>
          <p:cNvPr id="31" name="TextBox 30">
            <a:extLst>
              <a:ext uri="{FF2B5EF4-FFF2-40B4-BE49-F238E27FC236}">
                <a16:creationId xmlns:a16="http://schemas.microsoft.com/office/drawing/2014/main" id="{CC0DEEE3-A461-F4BC-24A7-171442726C52}"/>
              </a:ext>
            </a:extLst>
          </p:cNvPr>
          <p:cNvSpPr txBox="1"/>
          <p:nvPr/>
        </p:nvSpPr>
        <p:spPr>
          <a:xfrm>
            <a:off x="7499314" y="2877537"/>
            <a:ext cx="3188478" cy="338554"/>
          </a:xfrm>
          <a:prstGeom prst="rect">
            <a:avLst/>
          </a:prstGeom>
          <a:noFill/>
        </p:spPr>
        <p:txBody>
          <a:bodyPr wrap="square" rtlCol="0">
            <a:spAutoFit/>
          </a:bodyPr>
          <a:lstStyle/>
          <a:p>
            <a:pPr algn="ctr"/>
            <a:r>
              <a:rPr lang="en-US" sz="1600" b="1" i="1" dirty="0">
                <a:solidFill>
                  <a:schemeClr val="accent1">
                    <a:lumMod val="75000"/>
                  </a:schemeClr>
                </a:solidFill>
              </a:rPr>
              <a:t>Most frequent uplift range </a:t>
            </a:r>
            <a:r>
              <a:rPr lang="en-US" sz="1200" b="1" i="1" dirty="0">
                <a:solidFill>
                  <a:schemeClr val="accent1">
                    <a:lumMod val="75000"/>
                  </a:schemeClr>
                </a:solidFill>
              </a:rPr>
              <a:t>(*266)</a:t>
            </a:r>
            <a:endParaRPr lang="en-US" sz="1600" b="1" i="1" dirty="0">
              <a:solidFill>
                <a:schemeClr val="accent1">
                  <a:lumMod val="75000"/>
                </a:schemeClr>
              </a:solidFill>
            </a:endParaRPr>
          </a:p>
        </p:txBody>
      </p:sp>
      <p:pic>
        <p:nvPicPr>
          <p:cNvPr id="37" name="Picture 36">
            <a:extLst>
              <a:ext uri="{FF2B5EF4-FFF2-40B4-BE49-F238E27FC236}">
                <a16:creationId xmlns:a16="http://schemas.microsoft.com/office/drawing/2014/main" id="{3A4ADC99-2158-37AA-C94A-47236F0B109D}"/>
              </a:ext>
            </a:extLst>
          </p:cNvPr>
          <p:cNvPicPr>
            <a:picLocks noChangeAspect="1"/>
          </p:cNvPicPr>
          <p:nvPr/>
        </p:nvPicPr>
        <p:blipFill>
          <a:blip r:embed="rId5"/>
          <a:stretch>
            <a:fillRect/>
          </a:stretch>
        </p:blipFill>
        <p:spPr>
          <a:xfrm>
            <a:off x="9819574" y="1784101"/>
            <a:ext cx="1060625" cy="1060625"/>
          </a:xfrm>
          <a:prstGeom prst="rect">
            <a:avLst/>
          </a:prstGeom>
        </p:spPr>
      </p:pic>
      <mc:AlternateContent xmlns:mc="http://schemas.openxmlformats.org/markup-compatibility/2006" xmlns:cx1="http://schemas.microsoft.com/office/drawing/2015/9/8/chartex">
        <mc:Choice Requires="cx1">
          <p:graphicFrame>
            <p:nvGraphicFramePr>
              <p:cNvPr id="5" name="Chart 4">
                <a:extLst>
                  <a:ext uri="{FF2B5EF4-FFF2-40B4-BE49-F238E27FC236}">
                    <a16:creationId xmlns:a16="http://schemas.microsoft.com/office/drawing/2014/main" id="{D62E9D69-DE28-8C0C-C89C-59F428028A9D}"/>
                  </a:ext>
                </a:extLst>
              </p:cNvPr>
              <p:cNvGraphicFramePr/>
              <p:nvPr>
                <p:extLst>
                  <p:ext uri="{D42A27DB-BD31-4B8C-83A1-F6EECF244321}">
                    <p14:modId xmlns:p14="http://schemas.microsoft.com/office/powerpoint/2010/main" val="66960366"/>
                  </p:ext>
                </p:extLst>
              </p:nvPr>
            </p:nvGraphicFramePr>
            <p:xfrm>
              <a:off x="407999" y="4537340"/>
              <a:ext cx="10729666" cy="2176822"/>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5" name="Chart 4">
                <a:extLst>
                  <a:ext uri="{FF2B5EF4-FFF2-40B4-BE49-F238E27FC236}">
                    <a16:creationId xmlns:a16="http://schemas.microsoft.com/office/drawing/2014/main" id="{D62E9D69-DE28-8C0C-C89C-59F428028A9D}"/>
                  </a:ext>
                </a:extLst>
              </p:cNvPr>
              <p:cNvPicPr>
                <a:picLocks noGrp="1" noRot="1" noChangeAspect="1" noMove="1" noResize="1" noEditPoints="1" noAdjustHandles="1" noChangeArrowheads="1" noChangeShapeType="1"/>
              </p:cNvPicPr>
              <p:nvPr/>
            </p:nvPicPr>
            <p:blipFill>
              <a:blip r:embed="rId7"/>
              <a:stretch>
                <a:fillRect/>
              </a:stretch>
            </p:blipFill>
            <p:spPr>
              <a:xfrm>
                <a:off x="407999" y="4537340"/>
                <a:ext cx="10729666" cy="2176822"/>
              </a:xfrm>
              <a:prstGeom prst="rect">
                <a:avLst/>
              </a:prstGeom>
            </p:spPr>
          </p:pic>
        </mc:Fallback>
      </mc:AlternateContent>
    </p:spTree>
    <p:extLst>
      <p:ext uri="{BB962C8B-B14F-4D97-AF65-F5344CB8AC3E}">
        <p14:creationId xmlns:p14="http://schemas.microsoft.com/office/powerpoint/2010/main" val="7452803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Anheuser-Busch Custom Template">
  <a:themeElements>
    <a:clrScheme name="Anheuser-Busch Color Palette 2">
      <a:dk1>
        <a:srgbClr val="010101"/>
      </a:dk1>
      <a:lt1>
        <a:srgbClr val="FFFFFF"/>
      </a:lt1>
      <a:dk2>
        <a:srgbClr val="D3A238"/>
      </a:dk2>
      <a:lt2>
        <a:srgbClr val="F2F2F2"/>
      </a:lt2>
      <a:accent1>
        <a:srgbClr val="F5DF02"/>
      </a:accent1>
      <a:accent2>
        <a:srgbClr val="E3C120"/>
      </a:accent2>
      <a:accent3>
        <a:srgbClr val="274F31"/>
      </a:accent3>
      <a:accent4>
        <a:srgbClr val="284F6D"/>
      </a:accent4>
      <a:accent5>
        <a:srgbClr val="4F4566"/>
      </a:accent5>
      <a:accent6>
        <a:srgbClr val="77312C"/>
      </a:accent6>
      <a:hlink>
        <a:srgbClr val="594B32"/>
      </a:hlink>
      <a:folHlink>
        <a:srgbClr val="4D4D4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CED784B210F394580A551BC759F24F1" ma:contentTypeVersion="14" ma:contentTypeDescription="Create a new document." ma:contentTypeScope="" ma:versionID="6af1347c9ef3034b673bc3fced6fcd90">
  <xsd:schema xmlns:xsd="http://www.w3.org/2001/XMLSchema" xmlns:xs="http://www.w3.org/2001/XMLSchema" xmlns:p="http://schemas.microsoft.com/office/2006/metadata/properties" xmlns:ns2="08383c0a-6ddc-4f58-a377-535fdd1912b7" xmlns:ns3="8e7a2b03-87f7-4ddf-ae99-9323d48b08ec" targetNamespace="http://schemas.microsoft.com/office/2006/metadata/properties" ma:root="true" ma:fieldsID="8fb9fbf90499e1fee6a6980584e1c9c8" ns2:_="" ns3:_="">
    <xsd:import namespace="08383c0a-6ddc-4f58-a377-535fdd1912b7"/>
    <xsd:import namespace="8e7a2b03-87f7-4ddf-ae99-9323d48b08e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383c0a-6ddc-4f58-a377-535fdd1912b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e2deea9-f698-482e-8f77-105b59b605fe"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e7a2b03-87f7-4ddf-ae99-9323d48b08e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5f6e86e-c370-4b22-bdd0-40557ae7467d}" ma:internalName="TaxCatchAll" ma:showField="CatchAllData" ma:web="8e7a2b03-87f7-4ddf-ae99-9323d48b08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8383c0a-6ddc-4f58-a377-535fdd1912b7">
      <Terms xmlns="http://schemas.microsoft.com/office/infopath/2007/PartnerControls"/>
    </lcf76f155ced4ddcb4097134ff3c332f>
    <TaxCatchAll xmlns="8e7a2b03-87f7-4ddf-ae99-9323d48b08ec" xsi:nil="true"/>
    <SharedWithUsers xmlns="8e7a2b03-87f7-4ddf-ae99-9323d48b08ec">
      <UserInfo>
        <DisplayName>Mathews, Arun</DisplayName>
        <AccountId>67</AccountId>
        <AccountType/>
      </UserInfo>
      <UserInfo>
        <DisplayName>Aditya Raj</DisplayName>
        <AccountId>14</AccountId>
        <AccountType/>
      </UserInfo>
      <UserInfo>
        <DisplayName>Kumar, Rahul</DisplayName>
        <AccountId>18</AccountId>
        <AccountType/>
      </UserInfo>
      <UserInfo>
        <DisplayName>Mathew Vijoe</DisplayName>
        <AccountId>172</AccountId>
        <AccountType/>
      </UserInfo>
    </SharedWithUsers>
  </documentManagement>
</p:properties>
</file>

<file path=customXml/itemProps1.xml><?xml version="1.0" encoding="utf-8"?>
<ds:datastoreItem xmlns:ds="http://schemas.openxmlformats.org/officeDocument/2006/customXml" ds:itemID="{8E5E2EEE-B3EB-4A48-A136-16C91BAD34FC}">
  <ds:schemaRefs>
    <ds:schemaRef ds:uri="08383c0a-6ddc-4f58-a377-535fdd1912b7"/>
    <ds:schemaRef ds:uri="8e7a2b03-87f7-4ddf-ae99-9323d48b08e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54A13EA-FFC4-4338-B9B9-BA319D5CAE8F}">
  <ds:schemaRefs>
    <ds:schemaRef ds:uri="http://schemas.microsoft.com/sharepoint/v3/contenttype/forms"/>
  </ds:schemaRefs>
</ds:datastoreItem>
</file>

<file path=customXml/itemProps3.xml><?xml version="1.0" encoding="utf-8"?>
<ds:datastoreItem xmlns:ds="http://schemas.openxmlformats.org/officeDocument/2006/customXml" ds:itemID="{3E0DDCB9-CA82-4FA5-BDCA-D19AEB3FBB87}">
  <ds:schemaRefs>
    <ds:schemaRef ds:uri="http://schemas.microsoft.com/office/2006/documentManagement/types"/>
    <ds:schemaRef ds:uri="http://purl.org/dc/dcmitype/"/>
    <ds:schemaRef ds:uri="http://schemas.microsoft.com/office/2006/metadata/properties"/>
    <ds:schemaRef ds:uri="http://schemas.openxmlformats.org/package/2006/metadata/core-properties"/>
    <ds:schemaRef ds:uri="http://schemas.microsoft.com/office/infopath/2007/PartnerControls"/>
    <ds:schemaRef ds:uri="http://purl.org/dc/terms/"/>
    <ds:schemaRef ds:uri="8e7a2b03-87f7-4ddf-ae99-9323d48b08ec"/>
    <ds:schemaRef ds:uri="08383c0a-6ddc-4f58-a377-535fdd1912b7"/>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4052</TotalTime>
  <Words>1860</Words>
  <Application>Microsoft Office PowerPoint</Application>
  <PresentationFormat>Widescreen</PresentationFormat>
  <Paragraphs>318</Paragraphs>
  <Slides>10</Slides>
  <Notes>3</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9" baseType="lpstr">
      <vt:lpstr>Aptos</vt:lpstr>
      <vt:lpstr>Arial</vt:lpstr>
      <vt:lpstr>Calibri</vt:lpstr>
      <vt:lpstr>Fira Code</vt:lpstr>
      <vt:lpstr>Segoe UI</vt:lpstr>
      <vt:lpstr>System Font Regular</vt:lpstr>
      <vt:lpstr>Wingdings</vt:lpstr>
      <vt:lpstr>5_Anheuser-Busch Custom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ca Jaffe</dc:creator>
  <cp:lastModifiedBy>Thomas, Alan</cp:lastModifiedBy>
  <cp:revision>5</cp:revision>
  <dcterms:created xsi:type="dcterms:W3CDTF">2021-11-19T21:57:43Z</dcterms:created>
  <dcterms:modified xsi:type="dcterms:W3CDTF">2025-03-19T07:5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CED784B210F394580A551BC759F24F1</vt:lpwstr>
  </property>
  <property fmtid="{D5CDD505-2E9C-101B-9397-08002B2CF9AE}" pid="3" name="TitusGUID">
    <vt:lpwstr>16c2bfce-f747-4ff9-b30d-28d82b03e0df</vt:lpwstr>
  </property>
  <property fmtid="{D5CDD505-2E9C-101B-9397-08002B2CF9AE}" pid="4" name="ABClassification">
    <vt:lpwstr>Public</vt:lpwstr>
  </property>
  <property fmtid="{D5CDD505-2E9C-101B-9397-08002B2CF9AE}" pid="5" name="MediaServiceImageTags">
    <vt:lpwstr/>
  </property>
  <property fmtid="{D5CDD505-2E9C-101B-9397-08002B2CF9AE}" pid="6" name="MSIP_Label_68104b14-b53d-46de-9ae8-975cc0e84815_Enabled">
    <vt:lpwstr>true</vt:lpwstr>
  </property>
  <property fmtid="{D5CDD505-2E9C-101B-9397-08002B2CF9AE}" pid="7" name="MSIP_Label_68104b14-b53d-46de-9ae8-975cc0e84815_SetDate">
    <vt:lpwstr>2023-04-12T08:47:35Z</vt:lpwstr>
  </property>
  <property fmtid="{D5CDD505-2E9C-101B-9397-08002B2CF9AE}" pid="8" name="MSIP_Label_68104b14-b53d-46de-9ae8-975cc0e84815_Method">
    <vt:lpwstr>Standard</vt:lpwstr>
  </property>
  <property fmtid="{D5CDD505-2E9C-101B-9397-08002B2CF9AE}" pid="9" name="MSIP_Label_68104b14-b53d-46de-9ae8-975cc0e84815_Name">
    <vt:lpwstr>ABI_MIP_InternalUseOnly</vt:lpwstr>
  </property>
  <property fmtid="{D5CDD505-2E9C-101B-9397-08002B2CF9AE}" pid="10" name="MSIP_Label_68104b14-b53d-46de-9ae8-975cc0e84815_SiteId">
    <vt:lpwstr>cef04b19-7776-4a94-b89b-375c77a8f936</vt:lpwstr>
  </property>
  <property fmtid="{D5CDD505-2E9C-101B-9397-08002B2CF9AE}" pid="11" name="MSIP_Label_68104b14-b53d-46de-9ae8-975cc0e84815_ActionId">
    <vt:lpwstr>fb35a8f8-cea4-4683-a16c-4c52cb5f85f7</vt:lpwstr>
  </property>
  <property fmtid="{D5CDD505-2E9C-101B-9397-08002B2CF9AE}" pid="12" name="MSIP_Label_68104b14-b53d-46de-9ae8-975cc0e84815_ContentBits">
    <vt:lpwstr>0</vt:lpwstr>
  </property>
</Properties>
</file>